
<file path=[Content_Types].xml><?xml version="1.0" encoding="utf-8"?>
<Types xmlns="http://schemas.openxmlformats.org/package/2006/content-types">
  <Default Extension="bin" ContentType="image/jpeg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9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0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1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5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6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7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8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9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0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1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2.bin" ContentType="application/vnd.openxmlformats-officedocument.oleObject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drawings/drawing3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3.bin" ContentType="application/vnd.openxmlformats-officedocument.oleObject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4.bin" ContentType="application/vnd.openxmlformats-officedocument.oleObject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98" r:id="rId4"/>
    <p:sldMasterId id="2147483727" r:id="rId5"/>
    <p:sldMasterId id="2147483757" r:id="rId6"/>
    <p:sldMasterId id="2147483706" r:id="rId7"/>
    <p:sldMasterId id="2147483750" r:id="rId8"/>
    <p:sldMasterId id="2147483772" r:id="rId9"/>
    <p:sldMasterId id="2147483785" r:id="rId10"/>
    <p:sldMasterId id="2147483794" r:id="rId11"/>
    <p:sldMasterId id="2147483823" r:id="rId12"/>
    <p:sldMasterId id="2147483833" r:id="rId13"/>
    <p:sldMasterId id="2147483842" r:id="rId14"/>
    <p:sldMasterId id="2147483861" r:id="rId15"/>
    <p:sldMasterId id="2147483871" r:id="rId16"/>
    <p:sldMasterId id="2147483890" r:id="rId17"/>
    <p:sldMasterId id="2147483898" r:id="rId18"/>
    <p:sldMasterId id="2147483910" r:id="rId19"/>
    <p:sldMasterId id="2147483927" r:id="rId20"/>
    <p:sldMasterId id="2147483941" r:id="rId21"/>
    <p:sldMasterId id="2147483953" r:id="rId22"/>
    <p:sldMasterId id="2147483975" r:id="rId23"/>
    <p:sldMasterId id="2147483995" r:id="rId24"/>
    <p:sldMasterId id="2147484002" r:id="rId25"/>
  </p:sldMasterIdLst>
  <p:notesMasterIdLst>
    <p:notesMasterId r:id="rId51"/>
  </p:notesMasterIdLst>
  <p:handoutMasterIdLst>
    <p:handoutMasterId r:id="rId52"/>
  </p:handoutMasterIdLst>
  <p:sldIdLst>
    <p:sldId id="432" r:id="rId26"/>
    <p:sldId id="258" r:id="rId27"/>
    <p:sldId id="256" r:id="rId28"/>
    <p:sldId id="7357" r:id="rId29"/>
    <p:sldId id="7384" r:id="rId30"/>
    <p:sldId id="435" r:id="rId31"/>
    <p:sldId id="2431" r:id="rId32"/>
    <p:sldId id="7385" r:id="rId33"/>
    <p:sldId id="470" r:id="rId34"/>
    <p:sldId id="7386" r:id="rId35"/>
    <p:sldId id="7387" r:id="rId36"/>
    <p:sldId id="7390" r:id="rId37"/>
    <p:sldId id="1238" r:id="rId38"/>
    <p:sldId id="7391" r:id="rId39"/>
    <p:sldId id="480" r:id="rId40"/>
    <p:sldId id="7394" r:id="rId41"/>
    <p:sldId id="7392" r:id="rId42"/>
    <p:sldId id="7393" r:id="rId43"/>
    <p:sldId id="272" r:id="rId44"/>
    <p:sldId id="270" r:id="rId45"/>
    <p:sldId id="2147373328" r:id="rId46"/>
    <p:sldId id="7395" r:id="rId47"/>
    <p:sldId id="3349" r:id="rId48"/>
    <p:sldId id="3350" r:id="rId49"/>
    <p:sldId id="2147373333" r:id="rId50"/>
  </p:sldIdLst>
  <p:sldSz cx="12192000" cy="6858000"/>
  <p:notesSz cx="7010400" cy="9236075"/>
  <p:embeddedFontLst>
    <p:embeddedFont>
      <p:font typeface="Aktiv Grotesk" panose="020B0604020202020204" charset="0"/>
      <p:regular r:id="rId53"/>
      <p:bold r:id="rId54"/>
    </p:embeddedFont>
    <p:embeddedFont>
      <p:font typeface="Aktiv Grotesk Light" panose="020B0604020202020204" charset="0"/>
      <p:regular r:id="rId55"/>
    </p:embeddedFont>
    <p:embeddedFont>
      <p:font typeface="Aktiv Grotesk Medium" panose="020B0604020202020204" charset="0"/>
      <p:regular r:id="rId56"/>
    </p:embeddedFont>
    <p:embeddedFont>
      <p:font typeface="Aktiv Grotesk Thin" panose="020B0604020202020204" charset="0"/>
      <p:regular r:id="rId5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250">
          <p15:clr>
            <a:srgbClr val="A4A3A4"/>
          </p15:clr>
        </p15:guide>
        <p15:guide id="4" orient="horz" pos="206">
          <p15:clr>
            <a:srgbClr val="A4A3A4"/>
          </p15:clr>
        </p15:guide>
        <p15:guide id="5" orient="horz" pos="559">
          <p15:clr>
            <a:srgbClr val="A4A3A4"/>
          </p15:clr>
        </p15:guide>
        <p15:guide id="6" orient="horz" pos="930">
          <p15:clr>
            <a:srgbClr val="A4A3A4"/>
          </p15:clr>
        </p15:guide>
        <p15:guide id="7" orient="horz" pos="3618">
          <p15:clr>
            <a:srgbClr val="A4A3A4"/>
          </p15:clr>
        </p15:guide>
        <p15:guide id="8" orient="horz" pos="3970">
          <p15:clr>
            <a:srgbClr val="A4A3A4"/>
          </p15:clr>
        </p15:guide>
        <p15:guide id="9" orient="horz" pos="4145">
          <p15:clr>
            <a:srgbClr val="A4A3A4"/>
          </p15:clr>
        </p15:guide>
        <p15:guide id="10" orient="horz" pos="970">
          <p15:clr>
            <a:srgbClr val="A4A3A4"/>
          </p15:clr>
        </p15:guide>
        <p15:guide id="11" orient="horz" pos="256">
          <p15:clr>
            <a:srgbClr val="A4A3A4"/>
          </p15:clr>
        </p15:guide>
        <p15:guide id="12" orient="horz" pos="1162">
          <p15:clr>
            <a:srgbClr val="A4A3A4"/>
          </p15:clr>
        </p15:guide>
        <p15:guide id="13" pos="7436">
          <p15:clr>
            <a:srgbClr val="A4A3A4"/>
          </p15:clr>
        </p15:guide>
        <p15:guide id="14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 Amber" initials="WA" lastIdx="9" clrIdx="0">
    <p:extLst>
      <p:ext uri="{19B8F6BF-5375-455C-9EA6-DF929625EA0E}">
        <p15:presenceInfo xmlns:p15="http://schemas.microsoft.com/office/powerpoint/2012/main" userId="S-1-5-21-372464671-2136817329-1307212239-1288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FFFFFF"/>
    <a:srgbClr val="1E32FA"/>
    <a:srgbClr val="000000"/>
    <a:srgbClr val="44546A"/>
    <a:srgbClr val="289632"/>
    <a:srgbClr val="5A14A0"/>
    <a:srgbClr val="F04632"/>
    <a:srgbClr val="F046C8"/>
    <a:srgbClr val="FAC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17" autoAdjust="0"/>
    <p:restoredTop sz="78012" autoAdjust="0"/>
  </p:normalViewPr>
  <p:slideViewPr>
    <p:cSldViewPr snapToGrid="0" snapToObjects="1">
      <p:cViewPr varScale="1">
        <p:scale>
          <a:sx n="64" d="100"/>
          <a:sy n="64" d="100"/>
        </p:scale>
        <p:origin x="1469" y="67"/>
      </p:cViewPr>
      <p:guideLst>
        <p:guide orient="horz" pos="2160"/>
        <p:guide pos="3840"/>
        <p:guide orient="horz" pos="2250"/>
        <p:guide orient="horz" pos="206"/>
        <p:guide orient="horz" pos="559"/>
        <p:guide orient="horz" pos="930"/>
        <p:guide orient="horz" pos="3618"/>
        <p:guide orient="horz" pos="3970"/>
        <p:guide orient="horz" pos="4145"/>
        <p:guide orient="horz" pos="970"/>
        <p:guide orient="horz" pos="256"/>
        <p:guide orient="horz" pos="1162"/>
        <p:guide pos="7436"/>
        <p:guide pos="25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557"/>
    </p:cViewPr>
  </p:sorterViewPr>
  <p:notesViewPr>
    <p:cSldViewPr snapToGrid="0" snapToObjects="1">
      <p:cViewPr varScale="1">
        <p:scale>
          <a:sx n="72" d="100"/>
          <a:sy n="72" d="100"/>
        </p:scale>
        <p:origin x="-453" y="-54"/>
      </p:cViewPr>
      <p:guideLst>
        <p:guide orient="horz" pos="290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slide" Target="slides/slide22.xml"/><Relationship Id="rId50" Type="http://schemas.openxmlformats.org/officeDocument/2006/relationships/slide" Target="slides/slide25.xml"/><Relationship Id="rId55" Type="http://schemas.openxmlformats.org/officeDocument/2006/relationships/font" Target="fonts/font3.fntdata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4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53" Type="http://schemas.openxmlformats.org/officeDocument/2006/relationships/font" Target="fonts/font1.fntdata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slide" Target="slides/slide23.xml"/><Relationship Id="rId56" Type="http://schemas.openxmlformats.org/officeDocument/2006/relationships/font" Target="fonts/font4.fntdata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slide" Target="slides/slide21.xml"/><Relationship Id="rId59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6.xml"/><Relationship Id="rId54" Type="http://schemas.openxmlformats.org/officeDocument/2006/relationships/font" Target="fonts/font2.fntdata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slide" Target="slides/slide24.xml"/><Relationship Id="rId57" Type="http://schemas.openxmlformats.org/officeDocument/2006/relationships/font" Target="fonts/font5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52" Type="http://schemas.openxmlformats.org/officeDocument/2006/relationships/handoutMaster" Target="handoutMasters/handoutMaster1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corp.ad.iata.org\iata$\DEPT\GVA\DG-ECON\Airline%20performance\Fuel%20Price%20Monitor\JFPM\JFPMmaster2.2_150219_AV_2.xlsm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\\corp.ad.iata.org\iata$\DEPT\GVA\DG-ECON\Market%20analysis\IATA%20Regions%20Analysis\2022\01%20January\Regional%20monitor%20-%20Master%20-%20January%20202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C:\Users\matoulkovk\Downloads\multiTimeline%20(3).csv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iuperceae\Desktop\ELENA%20C\APJC%20&amp;%20LCAG\2018-2021%20Data%20Graph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iuperceae\Desktop\ELENA%20C\FDS\BSP%20STATS%20&amp;%20OTHER%20DATA\BSP%20UK%20&amp;%20IE%202019-YTD%20Data%20Graph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ysClr val="windowText" lastClr="000000"/>
                </a:solidFill>
              </a:rPr>
              <a:t>Global O-D passengers, billion</a:t>
            </a:r>
          </a:p>
        </c:rich>
      </c:tx>
      <c:layout>
        <c:manualLayout>
          <c:xMode val="edge"/>
          <c:yMode val="edge"/>
          <c:x val="4.998398162516788E-2"/>
          <c:y val="9.2592592592592587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8905136097647163E-2"/>
          <c:y val="8.4229184893554979E-2"/>
          <c:w val="0.88482735278528135"/>
          <c:h val="0.82783808060015673"/>
        </c:manualLayout>
      </c:layout>
      <c:lineChart>
        <c:grouping val="standard"/>
        <c:varyColors val="0"/>
        <c:ser>
          <c:idx val="1"/>
          <c:order val="0"/>
          <c:tx>
            <c:strRef>
              <c:f>'Revised 5yr'!$A$9</c:f>
              <c:strCache>
                <c:ptCount val="1"/>
                <c:pt idx="0">
                  <c:v>Nov 2021 forecast</c:v>
                </c:pt>
              </c:strCache>
            </c:strRef>
          </c:tx>
          <c:spPr>
            <a:ln w="38100"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'Revised 5yr'!$N$1:$Z$1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'Revised 5yr'!$N$9:$Z$9</c:f>
              <c:numCache>
                <c:formatCode>_(* #,##0_);_(* \(#,##0\);_(* "-"??_);_(@_)</c:formatCode>
                <c:ptCount val="13"/>
                <c:pt idx="0">
                  <c:v>3758954</c:v>
                </c:pt>
                <c:pt idx="1">
                  <c:v>3901690</c:v>
                </c:pt>
                <c:pt idx="2">
                  <c:v>1516260</c:v>
                </c:pt>
                <c:pt idx="3">
                  <c:v>1875580</c:v>
                </c:pt>
                <c:pt idx="4">
                  <c:v>3170640</c:v>
                </c:pt>
                <c:pt idx="5">
                  <c:v>3775620</c:v>
                </c:pt>
                <c:pt idx="6">
                  <c:v>4083410</c:v>
                </c:pt>
                <c:pt idx="7">
                  <c:v>4342480</c:v>
                </c:pt>
                <c:pt idx="8">
                  <c:v>4591650</c:v>
                </c:pt>
                <c:pt idx="9">
                  <c:v>4825990</c:v>
                </c:pt>
                <c:pt idx="10">
                  <c:v>5055170</c:v>
                </c:pt>
                <c:pt idx="11">
                  <c:v>5282120</c:v>
                </c:pt>
                <c:pt idx="12">
                  <c:v>55010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68-4A62-9AA8-F33FFC1E7935}"/>
            </c:ext>
          </c:extLst>
        </c:ser>
        <c:ser>
          <c:idx val="2"/>
          <c:order val="1"/>
          <c:tx>
            <c:strRef>
              <c:f>'Revised 5yr'!$A$10</c:f>
              <c:strCache>
                <c:ptCount val="1"/>
                <c:pt idx="0">
                  <c:v>March 2022 forecast</c:v>
                </c:pt>
              </c:strCache>
            </c:strRef>
          </c:tx>
          <c:spPr>
            <a:ln w="38100"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'Revised 5yr'!$N$1:$Z$1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'Revised 5yr'!$N$10:$Z$10</c:f>
              <c:numCache>
                <c:formatCode>_(* #,##0_);_(* \(#,##0\);_(* "-"??_);_(@_)</c:formatCode>
                <c:ptCount val="13"/>
                <c:pt idx="0">
                  <c:v>3758950</c:v>
                </c:pt>
                <c:pt idx="1">
                  <c:v>3901686</c:v>
                </c:pt>
                <c:pt idx="2">
                  <c:v>1533550</c:v>
                </c:pt>
                <c:pt idx="3">
                  <c:v>1830654</c:v>
                </c:pt>
                <c:pt idx="4">
                  <c:v>3230536</c:v>
                </c:pt>
                <c:pt idx="5">
                  <c:v>3673554</c:v>
                </c:pt>
                <c:pt idx="6">
                  <c:v>4026749</c:v>
                </c:pt>
                <c:pt idx="7">
                  <c:v>4332212</c:v>
                </c:pt>
                <c:pt idx="8">
                  <c:v>4612326</c:v>
                </c:pt>
                <c:pt idx="9">
                  <c:v>4875013</c:v>
                </c:pt>
                <c:pt idx="10">
                  <c:v>5120234</c:v>
                </c:pt>
                <c:pt idx="11">
                  <c:v>5363973</c:v>
                </c:pt>
                <c:pt idx="12">
                  <c:v>56039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68-4A62-9AA8-F33FFC1E79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2926984"/>
        <c:axId val="2092930264"/>
      </c:lineChart>
      <c:catAx>
        <c:axId val="2092926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930264"/>
        <c:crosses val="autoZero"/>
        <c:auto val="1"/>
        <c:lblAlgn val="ctr"/>
        <c:lblOffset val="100"/>
        <c:tickLblSkip val="2"/>
        <c:noMultiLvlLbl val="0"/>
      </c:catAx>
      <c:valAx>
        <c:axId val="2092930264"/>
        <c:scaling>
          <c:orientation val="minMax"/>
          <c:max val="600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926984"/>
        <c:crosses val="autoZero"/>
        <c:crossBetween val="between"/>
        <c:dispUnits>
          <c:builtInUnit val="millions"/>
        </c:dispUnits>
      </c:valAx>
    </c:plotArea>
    <c:legend>
      <c:legendPos val="r"/>
      <c:layout>
        <c:manualLayout>
          <c:xMode val="edge"/>
          <c:yMode val="edge"/>
          <c:x val="0.10014530954311975"/>
          <c:y val="8.8768591426071713E-2"/>
          <c:w val="0.61149161403486363"/>
          <c:h val="8.6922207640711582E-2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l">
              <a:defRPr sz="2600" b="1" i="0" u="none" strike="noStrike" baseline="0">
                <a:solidFill>
                  <a:srgbClr val="808080"/>
                </a:solidFill>
                <a:latin typeface="Arial"/>
                <a:ea typeface="Arial"/>
                <a:cs typeface="Arial"/>
              </a:defRPr>
            </a:pPr>
            <a:r>
              <a:rPr lang="en-US" sz="1400" b="1" i="0" baseline="0">
                <a:solidFill>
                  <a:sysClr val="windowText" lastClr="000000"/>
                </a:solidFill>
                <a:effectLst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Jet Fuel &amp; Crude Oil Price ($/barrel)</a:t>
            </a:r>
            <a:endParaRPr lang="en-US" sz="1400" baseline="0">
              <a:solidFill>
                <a:sysClr val="windowText" lastClr="000000"/>
              </a:solidFill>
              <a:effectLst/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c:rich>
      </c:tx>
      <c:layout>
        <c:manualLayout>
          <c:xMode val="edge"/>
          <c:yMode val="edge"/>
          <c:x val="5.1805402870238552E-3"/>
          <c:y val="1.9816058415041443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5.9060609048680844E-2"/>
          <c:y val="9.4244270136894612E-2"/>
          <c:w val="0.90909245430831476"/>
          <c:h val="0.70947456499817629"/>
        </c:manualLayout>
      </c:layout>
      <c:lineChart>
        <c:grouping val="standard"/>
        <c:varyColors val="0"/>
        <c:ser>
          <c:idx val="0"/>
          <c:order val="0"/>
          <c:tx>
            <c:v>Jet Fuel Price</c:v>
          </c:tx>
          <c:spPr>
            <a:ln w="38100">
              <a:solidFill>
                <a:srgbClr val="1E32FA"/>
              </a:solidFill>
            </a:ln>
          </c:spPr>
          <c:marker>
            <c:symbol val="none"/>
          </c:marker>
          <c:cat>
            <c:numRef>
              <c:f>'LC JFP'!$B$469:$B$1095</c:f>
              <c:numCache>
                <c:formatCode>ddd\,\ d\ mmm\ yy</c:formatCode>
                <c:ptCount val="627"/>
                <c:pt idx="0">
                  <c:v>40550</c:v>
                </c:pt>
                <c:pt idx="1">
                  <c:v>40557</c:v>
                </c:pt>
                <c:pt idx="2">
                  <c:v>40564</c:v>
                </c:pt>
                <c:pt idx="3">
                  <c:v>40571</c:v>
                </c:pt>
                <c:pt idx="4">
                  <c:v>40578</c:v>
                </c:pt>
                <c:pt idx="5">
                  <c:v>40585</c:v>
                </c:pt>
                <c:pt idx="6">
                  <c:v>40592</c:v>
                </c:pt>
                <c:pt idx="7">
                  <c:v>40599</c:v>
                </c:pt>
                <c:pt idx="8">
                  <c:v>40606</c:v>
                </c:pt>
                <c:pt idx="9">
                  <c:v>40613</c:v>
                </c:pt>
                <c:pt idx="10">
                  <c:v>40620</c:v>
                </c:pt>
                <c:pt idx="11">
                  <c:v>40627</c:v>
                </c:pt>
                <c:pt idx="12">
                  <c:v>40634</c:v>
                </c:pt>
                <c:pt idx="13">
                  <c:v>40641</c:v>
                </c:pt>
                <c:pt idx="14">
                  <c:v>40648</c:v>
                </c:pt>
                <c:pt idx="15">
                  <c:v>40655</c:v>
                </c:pt>
                <c:pt idx="16">
                  <c:v>40662</c:v>
                </c:pt>
                <c:pt idx="17">
                  <c:v>40669</c:v>
                </c:pt>
                <c:pt idx="18">
                  <c:v>40676</c:v>
                </c:pt>
                <c:pt idx="19">
                  <c:v>40683</c:v>
                </c:pt>
                <c:pt idx="20">
                  <c:v>40690</c:v>
                </c:pt>
                <c:pt idx="21">
                  <c:v>40697</c:v>
                </c:pt>
                <c:pt idx="22">
                  <c:v>40704</c:v>
                </c:pt>
                <c:pt idx="23">
                  <c:v>40711</c:v>
                </c:pt>
                <c:pt idx="24">
                  <c:v>40718</c:v>
                </c:pt>
                <c:pt idx="25">
                  <c:v>40725</c:v>
                </c:pt>
                <c:pt idx="26">
                  <c:v>40732</c:v>
                </c:pt>
                <c:pt idx="27">
                  <c:v>40739</c:v>
                </c:pt>
                <c:pt idx="28">
                  <c:v>40746</c:v>
                </c:pt>
                <c:pt idx="29">
                  <c:v>40753</c:v>
                </c:pt>
                <c:pt idx="30">
                  <c:v>40760</c:v>
                </c:pt>
                <c:pt idx="31">
                  <c:v>40767</c:v>
                </c:pt>
                <c:pt idx="32">
                  <c:v>40774</c:v>
                </c:pt>
                <c:pt idx="33">
                  <c:v>40781</c:v>
                </c:pt>
                <c:pt idx="34">
                  <c:v>40788</c:v>
                </c:pt>
                <c:pt idx="35">
                  <c:v>40795</c:v>
                </c:pt>
                <c:pt idx="36">
                  <c:v>40802</c:v>
                </c:pt>
                <c:pt idx="37">
                  <c:v>40809</c:v>
                </c:pt>
                <c:pt idx="38">
                  <c:v>40816</c:v>
                </c:pt>
                <c:pt idx="39">
                  <c:v>40823</c:v>
                </c:pt>
                <c:pt idx="40">
                  <c:v>40830</c:v>
                </c:pt>
                <c:pt idx="41">
                  <c:v>40837</c:v>
                </c:pt>
                <c:pt idx="42">
                  <c:v>40844</c:v>
                </c:pt>
                <c:pt idx="43">
                  <c:v>40851</c:v>
                </c:pt>
                <c:pt idx="44">
                  <c:v>40858</c:v>
                </c:pt>
                <c:pt idx="45">
                  <c:v>40865</c:v>
                </c:pt>
                <c:pt idx="46">
                  <c:v>40872</c:v>
                </c:pt>
                <c:pt idx="47">
                  <c:v>40879</c:v>
                </c:pt>
                <c:pt idx="48">
                  <c:v>40886</c:v>
                </c:pt>
                <c:pt idx="49">
                  <c:v>40893</c:v>
                </c:pt>
                <c:pt idx="50">
                  <c:v>40900</c:v>
                </c:pt>
                <c:pt idx="51">
                  <c:v>40907</c:v>
                </c:pt>
                <c:pt idx="52">
                  <c:v>40914</c:v>
                </c:pt>
                <c:pt idx="53">
                  <c:v>40921</c:v>
                </c:pt>
                <c:pt idx="54">
                  <c:v>40928</c:v>
                </c:pt>
                <c:pt idx="55">
                  <c:v>40935</c:v>
                </c:pt>
                <c:pt idx="56">
                  <c:v>40942</c:v>
                </c:pt>
                <c:pt idx="57">
                  <c:v>40949</c:v>
                </c:pt>
                <c:pt idx="58">
                  <c:v>40956</c:v>
                </c:pt>
                <c:pt idx="59">
                  <c:v>40963</c:v>
                </c:pt>
                <c:pt idx="60">
                  <c:v>40970</c:v>
                </c:pt>
                <c:pt idx="61">
                  <c:v>40977</c:v>
                </c:pt>
                <c:pt idx="62">
                  <c:v>40984</c:v>
                </c:pt>
                <c:pt idx="63">
                  <c:v>40991</c:v>
                </c:pt>
                <c:pt idx="64">
                  <c:v>40998</c:v>
                </c:pt>
                <c:pt idx="65">
                  <c:v>41005</c:v>
                </c:pt>
                <c:pt idx="66">
                  <c:v>41012</c:v>
                </c:pt>
                <c:pt idx="67">
                  <c:v>41019</c:v>
                </c:pt>
                <c:pt idx="68">
                  <c:v>41026</c:v>
                </c:pt>
                <c:pt idx="69">
                  <c:v>41033</c:v>
                </c:pt>
                <c:pt idx="70">
                  <c:v>41040</c:v>
                </c:pt>
                <c:pt idx="71">
                  <c:v>41047</c:v>
                </c:pt>
                <c:pt idx="72">
                  <c:v>41054</c:v>
                </c:pt>
                <c:pt idx="73">
                  <c:v>41061</c:v>
                </c:pt>
                <c:pt idx="74">
                  <c:v>41068</c:v>
                </c:pt>
                <c:pt idx="75">
                  <c:v>41075</c:v>
                </c:pt>
                <c:pt idx="76">
                  <c:v>41082</c:v>
                </c:pt>
                <c:pt idx="77">
                  <c:v>41089</c:v>
                </c:pt>
                <c:pt idx="78">
                  <c:v>41096</c:v>
                </c:pt>
                <c:pt idx="79">
                  <c:v>41103</c:v>
                </c:pt>
                <c:pt idx="80">
                  <c:v>41110</c:v>
                </c:pt>
                <c:pt idx="81">
                  <c:v>41117</c:v>
                </c:pt>
                <c:pt idx="82">
                  <c:v>41124</c:v>
                </c:pt>
                <c:pt idx="83">
                  <c:v>41131</c:v>
                </c:pt>
                <c:pt idx="84">
                  <c:v>41138</c:v>
                </c:pt>
                <c:pt idx="85">
                  <c:v>41145</c:v>
                </c:pt>
                <c:pt idx="86">
                  <c:v>41152</c:v>
                </c:pt>
                <c:pt idx="87">
                  <c:v>41159</c:v>
                </c:pt>
                <c:pt idx="88">
                  <c:v>41166</c:v>
                </c:pt>
                <c:pt idx="89">
                  <c:v>41173</c:v>
                </c:pt>
                <c:pt idx="90">
                  <c:v>41180</c:v>
                </c:pt>
                <c:pt idx="91">
                  <c:v>41187</c:v>
                </c:pt>
                <c:pt idx="92">
                  <c:v>41194</c:v>
                </c:pt>
                <c:pt idx="93">
                  <c:v>41201</c:v>
                </c:pt>
                <c:pt idx="94">
                  <c:v>41208</c:v>
                </c:pt>
                <c:pt idx="95">
                  <c:v>41215</c:v>
                </c:pt>
                <c:pt idx="96">
                  <c:v>41222</c:v>
                </c:pt>
                <c:pt idx="97">
                  <c:v>41229</c:v>
                </c:pt>
                <c:pt idx="98">
                  <c:v>41236</c:v>
                </c:pt>
                <c:pt idx="99">
                  <c:v>41243</c:v>
                </c:pt>
                <c:pt idx="100">
                  <c:v>41250</c:v>
                </c:pt>
                <c:pt idx="101">
                  <c:v>41257</c:v>
                </c:pt>
                <c:pt idx="102">
                  <c:v>41264</c:v>
                </c:pt>
                <c:pt idx="103">
                  <c:v>41271</c:v>
                </c:pt>
                <c:pt idx="104">
                  <c:v>41278</c:v>
                </c:pt>
                <c:pt idx="105">
                  <c:v>41285</c:v>
                </c:pt>
                <c:pt idx="106">
                  <c:v>41292</c:v>
                </c:pt>
                <c:pt idx="107">
                  <c:v>41299</c:v>
                </c:pt>
                <c:pt idx="108">
                  <c:v>41306</c:v>
                </c:pt>
                <c:pt idx="109">
                  <c:v>41313</c:v>
                </c:pt>
                <c:pt idx="110">
                  <c:v>41320</c:v>
                </c:pt>
                <c:pt idx="111">
                  <c:v>41327</c:v>
                </c:pt>
                <c:pt idx="112">
                  <c:v>41334</c:v>
                </c:pt>
                <c:pt idx="113">
                  <c:v>41341</c:v>
                </c:pt>
                <c:pt idx="114">
                  <c:v>41348</c:v>
                </c:pt>
                <c:pt idx="115">
                  <c:v>41355</c:v>
                </c:pt>
                <c:pt idx="116">
                  <c:v>41362</c:v>
                </c:pt>
                <c:pt idx="117">
                  <c:v>41369</c:v>
                </c:pt>
                <c:pt idx="118">
                  <c:v>41376</c:v>
                </c:pt>
                <c:pt idx="119">
                  <c:v>41383</c:v>
                </c:pt>
                <c:pt idx="120">
                  <c:v>41390</c:v>
                </c:pt>
                <c:pt idx="121">
                  <c:v>41397</c:v>
                </c:pt>
                <c:pt idx="122">
                  <c:v>41404</c:v>
                </c:pt>
                <c:pt idx="123">
                  <c:v>41411</c:v>
                </c:pt>
                <c:pt idx="124">
                  <c:v>41418</c:v>
                </c:pt>
                <c:pt idx="125">
                  <c:v>41425</c:v>
                </c:pt>
                <c:pt idx="126">
                  <c:v>41432</c:v>
                </c:pt>
                <c:pt idx="127">
                  <c:v>41439</c:v>
                </c:pt>
                <c:pt idx="128">
                  <c:v>41446</c:v>
                </c:pt>
                <c:pt idx="129">
                  <c:v>41453</c:v>
                </c:pt>
                <c:pt idx="130">
                  <c:v>41460</c:v>
                </c:pt>
                <c:pt idx="131">
                  <c:v>41467</c:v>
                </c:pt>
                <c:pt idx="132">
                  <c:v>41474</c:v>
                </c:pt>
                <c:pt idx="133">
                  <c:v>41481</c:v>
                </c:pt>
                <c:pt idx="134">
                  <c:v>41488</c:v>
                </c:pt>
                <c:pt idx="135">
                  <c:v>41495</c:v>
                </c:pt>
                <c:pt idx="136">
                  <c:v>41502</c:v>
                </c:pt>
                <c:pt idx="137">
                  <c:v>41509</c:v>
                </c:pt>
                <c:pt idx="138">
                  <c:v>41516</c:v>
                </c:pt>
                <c:pt idx="139">
                  <c:v>41523</c:v>
                </c:pt>
                <c:pt idx="140">
                  <c:v>41530</c:v>
                </c:pt>
                <c:pt idx="141">
                  <c:v>41537</c:v>
                </c:pt>
                <c:pt idx="142">
                  <c:v>41544</c:v>
                </c:pt>
                <c:pt idx="143">
                  <c:v>41551</c:v>
                </c:pt>
                <c:pt idx="144">
                  <c:v>41558</c:v>
                </c:pt>
                <c:pt idx="145">
                  <c:v>41565</c:v>
                </c:pt>
                <c:pt idx="146">
                  <c:v>41572</c:v>
                </c:pt>
                <c:pt idx="147">
                  <c:v>41579</c:v>
                </c:pt>
                <c:pt idx="148">
                  <c:v>41586</c:v>
                </c:pt>
                <c:pt idx="149">
                  <c:v>41593</c:v>
                </c:pt>
                <c:pt idx="150">
                  <c:v>41600</c:v>
                </c:pt>
                <c:pt idx="151">
                  <c:v>41607</c:v>
                </c:pt>
                <c:pt idx="152">
                  <c:v>41614</c:v>
                </c:pt>
                <c:pt idx="153">
                  <c:v>41621</c:v>
                </c:pt>
                <c:pt idx="154">
                  <c:v>41628</c:v>
                </c:pt>
                <c:pt idx="155">
                  <c:v>41635</c:v>
                </c:pt>
                <c:pt idx="156">
                  <c:v>41642</c:v>
                </c:pt>
                <c:pt idx="157">
                  <c:v>41649</c:v>
                </c:pt>
                <c:pt idx="158">
                  <c:v>41656</c:v>
                </c:pt>
                <c:pt idx="159">
                  <c:v>41663</c:v>
                </c:pt>
                <c:pt idx="160">
                  <c:v>41670</c:v>
                </c:pt>
                <c:pt idx="161">
                  <c:v>41677</c:v>
                </c:pt>
                <c:pt idx="162">
                  <c:v>41684</c:v>
                </c:pt>
                <c:pt idx="163">
                  <c:v>41691</c:v>
                </c:pt>
                <c:pt idx="164">
                  <c:v>41698</c:v>
                </c:pt>
                <c:pt idx="165">
                  <c:v>41705</c:v>
                </c:pt>
                <c:pt idx="166">
                  <c:v>41712</c:v>
                </c:pt>
                <c:pt idx="167">
                  <c:v>41719</c:v>
                </c:pt>
                <c:pt idx="168">
                  <c:v>41726</c:v>
                </c:pt>
                <c:pt idx="169">
                  <c:v>41733</c:v>
                </c:pt>
                <c:pt idx="170">
                  <c:v>41740</c:v>
                </c:pt>
                <c:pt idx="171">
                  <c:v>41747</c:v>
                </c:pt>
                <c:pt idx="172">
                  <c:v>41754</c:v>
                </c:pt>
                <c:pt idx="173">
                  <c:v>41761</c:v>
                </c:pt>
                <c:pt idx="174">
                  <c:v>41768</c:v>
                </c:pt>
                <c:pt idx="175">
                  <c:v>41775</c:v>
                </c:pt>
                <c:pt idx="176">
                  <c:v>41782</c:v>
                </c:pt>
                <c:pt idx="177">
                  <c:v>41789</c:v>
                </c:pt>
                <c:pt idx="178">
                  <c:v>41796</c:v>
                </c:pt>
                <c:pt idx="179">
                  <c:v>41803</c:v>
                </c:pt>
                <c:pt idx="180">
                  <c:v>41810</c:v>
                </c:pt>
                <c:pt idx="181">
                  <c:v>41817</c:v>
                </c:pt>
                <c:pt idx="182">
                  <c:v>41824</c:v>
                </c:pt>
                <c:pt idx="183">
                  <c:v>41831</c:v>
                </c:pt>
                <c:pt idx="184">
                  <c:v>41838</c:v>
                </c:pt>
                <c:pt idx="185">
                  <c:v>41845</c:v>
                </c:pt>
                <c:pt idx="186">
                  <c:v>41852</c:v>
                </c:pt>
                <c:pt idx="187">
                  <c:v>41859</c:v>
                </c:pt>
                <c:pt idx="188">
                  <c:v>41866</c:v>
                </c:pt>
                <c:pt idx="189">
                  <c:v>41873</c:v>
                </c:pt>
                <c:pt idx="190">
                  <c:v>41880</c:v>
                </c:pt>
                <c:pt idx="191">
                  <c:v>41887</c:v>
                </c:pt>
                <c:pt idx="192">
                  <c:v>41894</c:v>
                </c:pt>
                <c:pt idx="193">
                  <c:v>41901</c:v>
                </c:pt>
                <c:pt idx="194">
                  <c:v>41908</c:v>
                </c:pt>
                <c:pt idx="195">
                  <c:v>41915</c:v>
                </c:pt>
                <c:pt idx="196">
                  <c:v>41922</c:v>
                </c:pt>
                <c:pt idx="197">
                  <c:v>41929</c:v>
                </c:pt>
                <c:pt idx="198">
                  <c:v>41936</c:v>
                </c:pt>
                <c:pt idx="199">
                  <c:v>41943</c:v>
                </c:pt>
                <c:pt idx="200">
                  <c:v>41950</c:v>
                </c:pt>
                <c:pt idx="201">
                  <c:v>41957</c:v>
                </c:pt>
                <c:pt idx="202">
                  <c:v>41964</c:v>
                </c:pt>
                <c:pt idx="203">
                  <c:v>41971</c:v>
                </c:pt>
                <c:pt idx="204">
                  <c:v>41978</c:v>
                </c:pt>
                <c:pt idx="205">
                  <c:v>41985</c:v>
                </c:pt>
                <c:pt idx="206">
                  <c:v>41992</c:v>
                </c:pt>
                <c:pt idx="207">
                  <c:v>41999</c:v>
                </c:pt>
                <c:pt idx="208">
                  <c:v>42006</c:v>
                </c:pt>
                <c:pt idx="209">
                  <c:v>42013</c:v>
                </c:pt>
                <c:pt idx="210">
                  <c:v>42020</c:v>
                </c:pt>
                <c:pt idx="211">
                  <c:v>42027</c:v>
                </c:pt>
                <c:pt idx="212">
                  <c:v>42034</c:v>
                </c:pt>
                <c:pt idx="213">
                  <c:v>42041</c:v>
                </c:pt>
                <c:pt idx="214">
                  <c:v>42048</c:v>
                </c:pt>
                <c:pt idx="215">
                  <c:v>42055</c:v>
                </c:pt>
                <c:pt idx="216">
                  <c:v>42062</c:v>
                </c:pt>
                <c:pt idx="217">
                  <c:v>42069</c:v>
                </c:pt>
                <c:pt idx="218">
                  <c:v>42076</c:v>
                </c:pt>
                <c:pt idx="219">
                  <c:v>42083</c:v>
                </c:pt>
                <c:pt idx="220">
                  <c:v>42090</c:v>
                </c:pt>
                <c:pt idx="221">
                  <c:v>42097</c:v>
                </c:pt>
                <c:pt idx="222">
                  <c:v>42104</c:v>
                </c:pt>
                <c:pt idx="223">
                  <c:v>42111</c:v>
                </c:pt>
                <c:pt idx="224">
                  <c:v>42118</c:v>
                </c:pt>
                <c:pt idx="225">
                  <c:v>42125</c:v>
                </c:pt>
                <c:pt idx="226">
                  <c:v>42132</c:v>
                </c:pt>
                <c:pt idx="227">
                  <c:v>42139</c:v>
                </c:pt>
                <c:pt idx="228">
                  <c:v>42146</c:v>
                </c:pt>
                <c:pt idx="229">
                  <c:v>42153</c:v>
                </c:pt>
                <c:pt idx="230">
                  <c:v>42160</c:v>
                </c:pt>
                <c:pt idx="231">
                  <c:v>42167</c:v>
                </c:pt>
                <c:pt idx="232">
                  <c:v>42174</c:v>
                </c:pt>
                <c:pt idx="233">
                  <c:v>42181</c:v>
                </c:pt>
                <c:pt idx="234">
                  <c:v>42188</c:v>
                </c:pt>
                <c:pt idx="235">
                  <c:v>42195</c:v>
                </c:pt>
                <c:pt idx="236">
                  <c:v>42202</c:v>
                </c:pt>
                <c:pt idx="237">
                  <c:v>42209</c:v>
                </c:pt>
                <c:pt idx="238">
                  <c:v>42216</c:v>
                </c:pt>
                <c:pt idx="239">
                  <c:v>42223</c:v>
                </c:pt>
                <c:pt idx="240">
                  <c:v>42230</c:v>
                </c:pt>
                <c:pt idx="241">
                  <c:v>42237</c:v>
                </c:pt>
                <c:pt idx="242">
                  <c:v>42244</c:v>
                </c:pt>
                <c:pt idx="243">
                  <c:v>42251</c:v>
                </c:pt>
                <c:pt idx="244">
                  <c:v>42258</c:v>
                </c:pt>
                <c:pt idx="245">
                  <c:v>42265</c:v>
                </c:pt>
                <c:pt idx="246">
                  <c:v>42272</c:v>
                </c:pt>
                <c:pt idx="247">
                  <c:v>42279</c:v>
                </c:pt>
                <c:pt idx="248">
                  <c:v>42286</c:v>
                </c:pt>
                <c:pt idx="249">
                  <c:v>42293</c:v>
                </c:pt>
                <c:pt idx="250">
                  <c:v>42300</c:v>
                </c:pt>
                <c:pt idx="251">
                  <c:v>42307</c:v>
                </c:pt>
                <c:pt idx="252">
                  <c:v>42314</c:v>
                </c:pt>
                <c:pt idx="253">
                  <c:v>42321</c:v>
                </c:pt>
                <c:pt idx="254">
                  <c:v>42328</c:v>
                </c:pt>
                <c:pt idx="255">
                  <c:v>42335</c:v>
                </c:pt>
                <c:pt idx="256">
                  <c:v>42342</c:v>
                </c:pt>
                <c:pt idx="257">
                  <c:v>42349</c:v>
                </c:pt>
                <c:pt idx="258">
                  <c:v>42356</c:v>
                </c:pt>
                <c:pt idx="259">
                  <c:v>42363</c:v>
                </c:pt>
                <c:pt idx="260">
                  <c:v>42370</c:v>
                </c:pt>
                <c:pt idx="261">
                  <c:v>42377</c:v>
                </c:pt>
                <c:pt idx="262">
                  <c:v>42384</c:v>
                </c:pt>
                <c:pt idx="263">
                  <c:v>42391</c:v>
                </c:pt>
                <c:pt idx="264">
                  <c:v>42398</c:v>
                </c:pt>
                <c:pt idx="265">
                  <c:v>42405</c:v>
                </c:pt>
                <c:pt idx="266">
                  <c:v>42412</c:v>
                </c:pt>
                <c:pt idx="267">
                  <c:v>42419</c:v>
                </c:pt>
                <c:pt idx="268">
                  <c:v>42426</c:v>
                </c:pt>
                <c:pt idx="269">
                  <c:v>42433</c:v>
                </c:pt>
                <c:pt idx="270">
                  <c:v>42440</c:v>
                </c:pt>
                <c:pt idx="271">
                  <c:v>42447</c:v>
                </c:pt>
                <c:pt idx="272">
                  <c:v>42454</c:v>
                </c:pt>
                <c:pt idx="273">
                  <c:v>42461</c:v>
                </c:pt>
                <c:pt idx="274">
                  <c:v>42468</c:v>
                </c:pt>
                <c:pt idx="275">
                  <c:v>42475</c:v>
                </c:pt>
                <c:pt idx="276">
                  <c:v>42482</c:v>
                </c:pt>
                <c:pt idx="277">
                  <c:v>42489</c:v>
                </c:pt>
                <c:pt idx="278">
                  <c:v>42496</c:v>
                </c:pt>
                <c:pt idx="279">
                  <c:v>42503</c:v>
                </c:pt>
                <c:pt idx="280">
                  <c:v>42510</c:v>
                </c:pt>
                <c:pt idx="281">
                  <c:v>42517</c:v>
                </c:pt>
                <c:pt idx="282">
                  <c:v>42524</c:v>
                </c:pt>
                <c:pt idx="283">
                  <c:v>42531</c:v>
                </c:pt>
                <c:pt idx="284">
                  <c:v>42538</c:v>
                </c:pt>
                <c:pt idx="285">
                  <c:v>42545</c:v>
                </c:pt>
                <c:pt idx="286">
                  <c:v>42552</c:v>
                </c:pt>
                <c:pt idx="287">
                  <c:v>42559</c:v>
                </c:pt>
                <c:pt idx="288">
                  <c:v>42566</c:v>
                </c:pt>
                <c:pt idx="289">
                  <c:v>42573</c:v>
                </c:pt>
                <c:pt idx="290">
                  <c:v>42580</c:v>
                </c:pt>
                <c:pt idx="291">
                  <c:v>42587</c:v>
                </c:pt>
                <c:pt idx="292">
                  <c:v>42594</c:v>
                </c:pt>
                <c:pt idx="293">
                  <c:v>42601</c:v>
                </c:pt>
                <c:pt idx="294">
                  <c:v>42608</c:v>
                </c:pt>
                <c:pt idx="295">
                  <c:v>42615</c:v>
                </c:pt>
                <c:pt idx="296">
                  <c:v>42622</c:v>
                </c:pt>
                <c:pt idx="297">
                  <c:v>42629</c:v>
                </c:pt>
                <c:pt idx="298">
                  <c:v>42636</c:v>
                </c:pt>
                <c:pt idx="299">
                  <c:v>42643</c:v>
                </c:pt>
                <c:pt idx="300">
                  <c:v>42650</c:v>
                </c:pt>
                <c:pt idx="301">
                  <c:v>42657</c:v>
                </c:pt>
                <c:pt idx="302">
                  <c:v>42664</c:v>
                </c:pt>
                <c:pt idx="303">
                  <c:v>42671</c:v>
                </c:pt>
                <c:pt idx="304">
                  <c:v>42678</c:v>
                </c:pt>
                <c:pt idx="305">
                  <c:v>42685</c:v>
                </c:pt>
                <c:pt idx="306">
                  <c:v>42692</c:v>
                </c:pt>
                <c:pt idx="307">
                  <c:v>42699</c:v>
                </c:pt>
                <c:pt idx="308">
                  <c:v>42706</c:v>
                </c:pt>
                <c:pt idx="309">
                  <c:v>42713</c:v>
                </c:pt>
                <c:pt idx="310">
                  <c:v>42720</c:v>
                </c:pt>
                <c:pt idx="311">
                  <c:v>42727</c:v>
                </c:pt>
                <c:pt idx="312">
                  <c:v>42734</c:v>
                </c:pt>
                <c:pt idx="313">
                  <c:v>42741</c:v>
                </c:pt>
                <c:pt idx="314">
                  <c:v>42748</c:v>
                </c:pt>
                <c:pt idx="315">
                  <c:v>42755</c:v>
                </c:pt>
                <c:pt idx="316">
                  <c:v>42762</c:v>
                </c:pt>
                <c:pt idx="317">
                  <c:v>42769</c:v>
                </c:pt>
                <c:pt idx="318">
                  <c:v>42776</c:v>
                </c:pt>
                <c:pt idx="319">
                  <c:v>42783</c:v>
                </c:pt>
                <c:pt idx="320">
                  <c:v>42790</c:v>
                </c:pt>
                <c:pt idx="321">
                  <c:v>42797</c:v>
                </c:pt>
                <c:pt idx="322">
                  <c:v>42804</c:v>
                </c:pt>
                <c:pt idx="323">
                  <c:v>42811</c:v>
                </c:pt>
                <c:pt idx="324">
                  <c:v>42818</c:v>
                </c:pt>
                <c:pt idx="325">
                  <c:v>42825</c:v>
                </c:pt>
                <c:pt idx="326">
                  <c:v>42832</c:v>
                </c:pt>
                <c:pt idx="327">
                  <c:v>42839</c:v>
                </c:pt>
                <c:pt idx="328">
                  <c:v>42846</c:v>
                </c:pt>
                <c:pt idx="329">
                  <c:v>42853</c:v>
                </c:pt>
                <c:pt idx="330">
                  <c:v>42860</c:v>
                </c:pt>
                <c:pt idx="331">
                  <c:v>42867</c:v>
                </c:pt>
                <c:pt idx="332">
                  <c:v>42874</c:v>
                </c:pt>
                <c:pt idx="333">
                  <c:v>42881</c:v>
                </c:pt>
                <c:pt idx="334">
                  <c:v>42888</c:v>
                </c:pt>
                <c:pt idx="335">
                  <c:v>42895</c:v>
                </c:pt>
                <c:pt idx="336">
                  <c:v>42902</c:v>
                </c:pt>
                <c:pt idx="337">
                  <c:v>42909</c:v>
                </c:pt>
                <c:pt idx="338">
                  <c:v>42916</c:v>
                </c:pt>
                <c:pt idx="339">
                  <c:v>42923</c:v>
                </c:pt>
                <c:pt idx="340">
                  <c:v>42930</c:v>
                </c:pt>
                <c:pt idx="341">
                  <c:v>42937</c:v>
                </c:pt>
                <c:pt idx="342">
                  <c:v>42944</c:v>
                </c:pt>
                <c:pt idx="343">
                  <c:v>42951</c:v>
                </c:pt>
                <c:pt idx="344">
                  <c:v>42958</c:v>
                </c:pt>
                <c:pt idx="345">
                  <c:v>42965</c:v>
                </c:pt>
                <c:pt idx="346">
                  <c:v>42972</c:v>
                </c:pt>
                <c:pt idx="347">
                  <c:v>42979</c:v>
                </c:pt>
                <c:pt idx="348">
                  <c:v>42986</c:v>
                </c:pt>
                <c:pt idx="349">
                  <c:v>42993</c:v>
                </c:pt>
                <c:pt idx="350">
                  <c:v>43000</c:v>
                </c:pt>
                <c:pt idx="351">
                  <c:v>43007</c:v>
                </c:pt>
                <c:pt idx="352">
                  <c:v>43014</c:v>
                </c:pt>
                <c:pt idx="353">
                  <c:v>43021</c:v>
                </c:pt>
                <c:pt idx="354">
                  <c:v>43028</c:v>
                </c:pt>
                <c:pt idx="355">
                  <c:v>43035</c:v>
                </c:pt>
                <c:pt idx="356">
                  <c:v>43042</c:v>
                </c:pt>
                <c:pt idx="357">
                  <c:v>43049</c:v>
                </c:pt>
                <c:pt idx="358">
                  <c:v>43056</c:v>
                </c:pt>
                <c:pt idx="359">
                  <c:v>43063</c:v>
                </c:pt>
                <c:pt idx="360">
                  <c:v>43070</c:v>
                </c:pt>
                <c:pt idx="361">
                  <c:v>43077</c:v>
                </c:pt>
                <c:pt idx="362">
                  <c:v>43084</c:v>
                </c:pt>
                <c:pt idx="363">
                  <c:v>43091</c:v>
                </c:pt>
                <c:pt idx="364">
                  <c:v>43098</c:v>
                </c:pt>
                <c:pt idx="365">
                  <c:v>43105</c:v>
                </c:pt>
                <c:pt idx="366">
                  <c:v>43112</c:v>
                </c:pt>
                <c:pt idx="367">
                  <c:v>43119</c:v>
                </c:pt>
                <c:pt idx="368">
                  <c:v>43126</c:v>
                </c:pt>
                <c:pt idx="369">
                  <c:v>43133</c:v>
                </c:pt>
                <c:pt idx="370">
                  <c:v>43140</c:v>
                </c:pt>
                <c:pt idx="371">
                  <c:v>43147</c:v>
                </c:pt>
                <c:pt idx="372">
                  <c:v>43154</c:v>
                </c:pt>
                <c:pt idx="373">
                  <c:v>43161</c:v>
                </c:pt>
                <c:pt idx="374">
                  <c:v>43168</c:v>
                </c:pt>
                <c:pt idx="375">
                  <c:v>43175</c:v>
                </c:pt>
                <c:pt idx="376">
                  <c:v>43182</c:v>
                </c:pt>
                <c:pt idx="377">
                  <c:v>43189</c:v>
                </c:pt>
                <c:pt idx="378">
                  <c:v>43196</c:v>
                </c:pt>
                <c:pt idx="379">
                  <c:v>43203</c:v>
                </c:pt>
                <c:pt idx="380">
                  <c:v>43210</c:v>
                </c:pt>
                <c:pt idx="381">
                  <c:v>43217</c:v>
                </c:pt>
                <c:pt idx="382">
                  <c:v>43224</c:v>
                </c:pt>
                <c:pt idx="383">
                  <c:v>43231</c:v>
                </c:pt>
                <c:pt idx="384">
                  <c:v>43238</c:v>
                </c:pt>
                <c:pt idx="385">
                  <c:v>43245</c:v>
                </c:pt>
                <c:pt idx="386">
                  <c:v>43252</c:v>
                </c:pt>
                <c:pt idx="387">
                  <c:v>43259</c:v>
                </c:pt>
                <c:pt idx="388">
                  <c:v>43266</c:v>
                </c:pt>
                <c:pt idx="389">
                  <c:v>43273</c:v>
                </c:pt>
                <c:pt idx="390">
                  <c:v>43280</c:v>
                </c:pt>
                <c:pt idx="391">
                  <c:v>43287</c:v>
                </c:pt>
                <c:pt idx="392">
                  <c:v>43294</c:v>
                </c:pt>
                <c:pt idx="393">
                  <c:v>43301</c:v>
                </c:pt>
                <c:pt idx="394">
                  <c:v>43308</c:v>
                </c:pt>
                <c:pt idx="395">
                  <c:v>43315</c:v>
                </c:pt>
                <c:pt idx="396">
                  <c:v>43322</c:v>
                </c:pt>
                <c:pt idx="397">
                  <c:v>43329</c:v>
                </c:pt>
                <c:pt idx="398">
                  <c:v>43336</c:v>
                </c:pt>
                <c:pt idx="399">
                  <c:v>43343</c:v>
                </c:pt>
                <c:pt idx="400">
                  <c:v>43350</c:v>
                </c:pt>
                <c:pt idx="401">
                  <c:v>43357</c:v>
                </c:pt>
                <c:pt idx="402">
                  <c:v>43364</c:v>
                </c:pt>
                <c:pt idx="403">
                  <c:v>43371</c:v>
                </c:pt>
                <c:pt idx="404">
                  <c:v>43378</c:v>
                </c:pt>
                <c:pt idx="405">
                  <c:v>43385</c:v>
                </c:pt>
                <c:pt idx="406">
                  <c:v>43392</c:v>
                </c:pt>
                <c:pt idx="407">
                  <c:v>43399</c:v>
                </c:pt>
                <c:pt idx="408">
                  <c:v>43406</c:v>
                </c:pt>
                <c:pt idx="409">
                  <c:v>43413</c:v>
                </c:pt>
                <c:pt idx="410">
                  <c:v>43420</c:v>
                </c:pt>
                <c:pt idx="411">
                  <c:v>43427</c:v>
                </c:pt>
                <c:pt idx="412">
                  <c:v>43434</c:v>
                </c:pt>
                <c:pt idx="413">
                  <c:v>43441</c:v>
                </c:pt>
                <c:pt idx="414">
                  <c:v>43448</c:v>
                </c:pt>
                <c:pt idx="415">
                  <c:v>43455</c:v>
                </c:pt>
                <c:pt idx="416">
                  <c:v>43462</c:v>
                </c:pt>
                <c:pt idx="417">
                  <c:v>43469</c:v>
                </c:pt>
                <c:pt idx="418">
                  <c:v>43476</c:v>
                </c:pt>
                <c:pt idx="419">
                  <c:v>43483</c:v>
                </c:pt>
                <c:pt idx="420">
                  <c:v>43490</c:v>
                </c:pt>
                <c:pt idx="421">
                  <c:v>43497</c:v>
                </c:pt>
                <c:pt idx="422">
                  <c:v>43504</c:v>
                </c:pt>
                <c:pt idx="423">
                  <c:v>43511</c:v>
                </c:pt>
                <c:pt idx="424">
                  <c:v>43518</c:v>
                </c:pt>
                <c:pt idx="425">
                  <c:v>43525</c:v>
                </c:pt>
                <c:pt idx="426">
                  <c:v>43532</c:v>
                </c:pt>
                <c:pt idx="427">
                  <c:v>43539</c:v>
                </c:pt>
                <c:pt idx="428">
                  <c:v>43546</c:v>
                </c:pt>
                <c:pt idx="429">
                  <c:v>43553</c:v>
                </c:pt>
                <c:pt idx="430">
                  <c:v>43560</c:v>
                </c:pt>
                <c:pt idx="431">
                  <c:v>43567</c:v>
                </c:pt>
                <c:pt idx="432">
                  <c:v>43573</c:v>
                </c:pt>
                <c:pt idx="433">
                  <c:v>43581</c:v>
                </c:pt>
                <c:pt idx="434">
                  <c:v>43588</c:v>
                </c:pt>
                <c:pt idx="435">
                  <c:v>43595</c:v>
                </c:pt>
                <c:pt idx="436">
                  <c:v>43602</c:v>
                </c:pt>
                <c:pt idx="437">
                  <c:v>43609</c:v>
                </c:pt>
                <c:pt idx="438">
                  <c:v>43616</c:v>
                </c:pt>
                <c:pt idx="439">
                  <c:v>43623</c:v>
                </c:pt>
                <c:pt idx="440">
                  <c:v>43630</c:v>
                </c:pt>
                <c:pt idx="441">
                  <c:v>43637</c:v>
                </c:pt>
                <c:pt idx="442">
                  <c:v>43644</c:v>
                </c:pt>
                <c:pt idx="443">
                  <c:v>43651</c:v>
                </c:pt>
                <c:pt idx="444">
                  <c:v>43658</c:v>
                </c:pt>
                <c:pt idx="445">
                  <c:v>43665</c:v>
                </c:pt>
                <c:pt idx="446">
                  <c:v>43672</c:v>
                </c:pt>
                <c:pt idx="447">
                  <c:v>43679</c:v>
                </c:pt>
                <c:pt idx="448">
                  <c:v>43686</c:v>
                </c:pt>
                <c:pt idx="449">
                  <c:v>43693</c:v>
                </c:pt>
                <c:pt idx="450">
                  <c:v>43700</c:v>
                </c:pt>
                <c:pt idx="451">
                  <c:v>43707</c:v>
                </c:pt>
                <c:pt idx="452">
                  <c:v>43714</c:v>
                </c:pt>
                <c:pt idx="453">
                  <c:v>43721</c:v>
                </c:pt>
                <c:pt idx="454">
                  <c:v>43728</c:v>
                </c:pt>
                <c:pt idx="455">
                  <c:v>43735</c:v>
                </c:pt>
                <c:pt idx="456">
                  <c:v>43742</c:v>
                </c:pt>
                <c:pt idx="457">
                  <c:v>43749</c:v>
                </c:pt>
                <c:pt idx="458">
                  <c:v>43756</c:v>
                </c:pt>
                <c:pt idx="459">
                  <c:v>43763</c:v>
                </c:pt>
                <c:pt idx="460">
                  <c:v>43770</c:v>
                </c:pt>
                <c:pt idx="461">
                  <c:v>43777</c:v>
                </c:pt>
                <c:pt idx="462">
                  <c:v>43784</c:v>
                </c:pt>
                <c:pt idx="463">
                  <c:v>43791</c:v>
                </c:pt>
                <c:pt idx="464">
                  <c:v>43798</c:v>
                </c:pt>
                <c:pt idx="465">
                  <c:v>43805</c:v>
                </c:pt>
                <c:pt idx="466">
                  <c:v>43812</c:v>
                </c:pt>
                <c:pt idx="467">
                  <c:v>43819</c:v>
                </c:pt>
                <c:pt idx="468">
                  <c:v>43826</c:v>
                </c:pt>
                <c:pt idx="469">
                  <c:v>43833</c:v>
                </c:pt>
                <c:pt idx="470">
                  <c:v>43840</c:v>
                </c:pt>
                <c:pt idx="471">
                  <c:v>43847</c:v>
                </c:pt>
                <c:pt idx="472">
                  <c:v>43854</c:v>
                </c:pt>
                <c:pt idx="473">
                  <c:v>43861</c:v>
                </c:pt>
                <c:pt idx="474">
                  <c:v>43868</c:v>
                </c:pt>
                <c:pt idx="475">
                  <c:v>43875</c:v>
                </c:pt>
                <c:pt idx="476">
                  <c:v>43882</c:v>
                </c:pt>
                <c:pt idx="477">
                  <c:v>43889</c:v>
                </c:pt>
                <c:pt idx="478">
                  <c:v>43896</c:v>
                </c:pt>
                <c:pt idx="479">
                  <c:v>43903</c:v>
                </c:pt>
                <c:pt idx="480">
                  <c:v>43910</c:v>
                </c:pt>
                <c:pt idx="481">
                  <c:v>43917</c:v>
                </c:pt>
                <c:pt idx="482">
                  <c:v>43924</c:v>
                </c:pt>
                <c:pt idx="483">
                  <c:v>43931</c:v>
                </c:pt>
                <c:pt idx="484">
                  <c:v>43938</c:v>
                </c:pt>
                <c:pt idx="485">
                  <c:v>43945</c:v>
                </c:pt>
                <c:pt idx="486">
                  <c:v>43952</c:v>
                </c:pt>
                <c:pt idx="487">
                  <c:v>43959</c:v>
                </c:pt>
                <c:pt idx="488">
                  <c:v>43966</c:v>
                </c:pt>
                <c:pt idx="489">
                  <c:v>43973</c:v>
                </c:pt>
                <c:pt idx="490">
                  <c:v>43980</c:v>
                </c:pt>
                <c:pt idx="491">
                  <c:v>43987</c:v>
                </c:pt>
                <c:pt idx="492">
                  <c:v>43994</c:v>
                </c:pt>
                <c:pt idx="493">
                  <c:v>44001</c:v>
                </c:pt>
                <c:pt idx="494">
                  <c:v>44008</c:v>
                </c:pt>
                <c:pt idx="495">
                  <c:v>44015</c:v>
                </c:pt>
                <c:pt idx="496">
                  <c:v>44022</c:v>
                </c:pt>
                <c:pt idx="497">
                  <c:v>44029</c:v>
                </c:pt>
                <c:pt idx="498">
                  <c:v>44036</c:v>
                </c:pt>
                <c:pt idx="499">
                  <c:v>44043</c:v>
                </c:pt>
                <c:pt idx="500">
                  <c:v>44050</c:v>
                </c:pt>
                <c:pt idx="501">
                  <c:v>44057</c:v>
                </c:pt>
                <c:pt idx="502">
                  <c:v>44064</c:v>
                </c:pt>
                <c:pt idx="503">
                  <c:v>44071</c:v>
                </c:pt>
                <c:pt idx="504">
                  <c:v>44078</c:v>
                </c:pt>
                <c:pt idx="505">
                  <c:v>44085</c:v>
                </c:pt>
                <c:pt idx="506">
                  <c:v>44092</c:v>
                </c:pt>
                <c:pt idx="507">
                  <c:v>44099</c:v>
                </c:pt>
                <c:pt idx="508">
                  <c:v>44106</c:v>
                </c:pt>
                <c:pt idx="509">
                  <c:v>44113</c:v>
                </c:pt>
                <c:pt idx="510">
                  <c:v>44120</c:v>
                </c:pt>
                <c:pt idx="511">
                  <c:v>44127</c:v>
                </c:pt>
                <c:pt idx="512">
                  <c:v>44134</c:v>
                </c:pt>
                <c:pt idx="513">
                  <c:v>44141</c:v>
                </c:pt>
                <c:pt idx="514">
                  <c:v>44148</c:v>
                </c:pt>
                <c:pt idx="515">
                  <c:v>44155</c:v>
                </c:pt>
                <c:pt idx="516">
                  <c:v>44162</c:v>
                </c:pt>
                <c:pt idx="517">
                  <c:v>44169</c:v>
                </c:pt>
                <c:pt idx="518">
                  <c:v>44176</c:v>
                </c:pt>
                <c:pt idx="519">
                  <c:v>44183</c:v>
                </c:pt>
                <c:pt idx="520">
                  <c:v>44188</c:v>
                </c:pt>
                <c:pt idx="521">
                  <c:v>44196</c:v>
                </c:pt>
                <c:pt idx="522">
                  <c:v>44204</c:v>
                </c:pt>
                <c:pt idx="523">
                  <c:v>44211</c:v>
                </c:pt>
                <c:pt idx="524">
                  <c:v>44218</c:v>
                </c:pt>
                <c:pt idx="525">
                  <c:v>44225</c:v>
                </c:pt>
                <c:pt idx="526">
                  <c:v>44232</c:v>
                </c:pt>
                <c:pt idx="527">
                  <c:v>44239</c:v>
                </c:pt>
                <c:pt idx="528">
                  <c:v>44246</c:v>
                </c:pt>
                <c:pt idx="529">
                  <c:v>44253</c:v>
                </c:pt>
                <c:pt idx="530">
                  <c:v>44260</c:v>
                </c:pt>
                <c:pt idx="531">
                  <c:v>44267</c:v>
                </c:pt>
                <c:pt idx="532">
                  <c:v>44274</c:v>
                </c:pt>
                <c:pt idx="533">
                  <c:v>44281</c:v>
                </c:pt>
                <c:pt idx="534">
                  <c:v>44288</c:v>
                </c:pt>
                <c:pt idx="535">
                  <c:v>44295</c:v>
                </c:pt>
                <c:pt idx="536">
                  <c:v>44302</c:v>
                </c:pt>
                <c:pt idx="537">
                  <c:v>44309</c:v>
                </c:pt>
                <c:pt idx="538">
                  <c:v>44316</c:v>
                </c:pt>
                <c:pt idx="539">
                  <c:v>44323</c:v>
                </c:pt>
                <c:pt idx="540">
                  <c:v>44330</c:v>
                </c:pt>
                <c:pt idx="541">
                  <c:v>44337</c:v>
                </c:pt>
                <c:pt idx="542">
                  <c:v>44344</c:v>
                </c:pt>
                <c:pt idx="543">
                  <c:v>44351</c:v>
                </c:pt>
                <c:pt idx="544">
                  <c:v>44358</c:v>
                </c:pt>
                <c:pt idx="545">
                  <c:v>44365</c:v>
                </c:pt>
                <c:pt idx="546">
                  <c:v>44372</c:v>
                </c:pt>
                <c:pt idx="547">
                  <c:v>44379</c:v>
                </c:pt>
                <c:pt idx="548">
                  <c:v>44386</c:v>
                </c:pt>
                <c:pt idx="549">
                  <c:v>44393</c:v>
                </c:pt>
                <c:pt idx="550">
                  <c:v>44400</c:v>
                </c:pt>
                <c:pt idx="551">
                  <c:v>44407</c:v>
                </c:pt>
                <c:pt idx="552">
                  <c:v>44414</c:v>
                </c:pt>
                <c:pt idx="553">
                  <c:v>44421</c:v>
                </c:pt>
                <c:pt idx="554">
                  <c:v>44428</c:v>
                </c:pt>
                <c:pt idx="555">
                  <c:v>44435</c:v>
                </c:pt>
                <c:pt idx="556">
                  <c:v>44442</c:v>
                </c:pt>
                <c:pt idx="557">
                  <c:v>44449</c:v>
                </c:pt>
                <c:pt idx="558">
                  <c:v>44456</c:v>
                </c:pt>
                <c:pt idx="559">
                  <c:v>44463</c:v>
                </c:pt>
                <c:pt idx="560">
                  <c:v>44470</c:v>
                </c:pt>
                <c:pt idx="561">
                  <c:v>44477</c:v>
                </c:pt>
                <c:pt idx="562">
                  <c:v>44484</c:v>
                </c:pt>
                <c:pt idx="563">
                  <c:v>44491</c:v>
                </c:pt>
                <c:pt idx="564">
                  <c:v>44498</c:v>
                </c:pt>
                <c:pt idx="565">
                  <c:v>44505</c:v>
                </c:pt>
                <c:pt idx="566">
                  <c:v>44512</c:v>
                </c:pt>
                <c:pt idx="567">
                  <c:v>44519</c:v>
                </c:pt>
                <c:pt idx="568">
                  <c:v>44526</c:v>
                </c:pt>
                <c:pt idx="569">
                  <c:v>44533</c:v>
                </c:pt>
                <c:pt idx="570">
                  <c:v>44540</c:v>
                </c:pt>
                <c:pt idx="571">
                  <c:v>44547</c:v>
                </c:pt>
                <c:pt idx="572">
                  <c:v>44554</c:v>
                </c:pt>
                <c:pt idx="573">
                  <c:v>44561</c:v>
                </c:pt>
                <c:pt idx="574">
                  <c:v>44568</c:v>
                </c:pt>
                <c:pt idx="575">
                  <c:v>44575</c:v>
                </c:pt>
                <c:pt idx="576">
                  <c:v>44582</c:v>
                </c:pt>
                <c:pt idx="577">
                  <c:v>44589</c:v>
                </c:pt>
                <c:pt idx="578">
                  <c:v>44596</c:v>
                </c:pt>
                <c:pt idx="579">
                  <c:v>44603</c:v>
                </c:pt>
                <c:pt idx="580">
                  <c:v>44610</c:v>
                </c:pt>
                <c:pt idx="581">
                  <c:v>44617</c:v>
                </c:pt>
                <c:pt idx="582">
                  <c:v>44624</c:v>
                </c:pt>
                <c:pt idx="583">
                  <c:v>44631</c:v>
                </c:pt>
                <c:pt idx="584">
                  <c:v>44638</c:v>
                </c:pt>
                <c:pt idx="585">
                  <c:v>44645</c:v>
                </c:pt>
                <c:pt idx="586">
                  <c:v>44652</c:v>
                </c:pt>
                <c:pt idx="587">
                  <c:v>44659</c:v>
                </c:pt>
                <c:pt idx="588">
                  <c:v>44666</c:v>
                </c:pt>
                <c:pt idx="589">
                  <c:v>44673</c:v>
                </c:pt>
                <c:pt idx="590">
                  <c:v>44680</c:v>
                </c:pt>
                <c:pt idx="591">
                  <c:v>44687</c:v>
                </c:pt>
                <c:pt idx="592">
                  <c:v>44694</c:v>
                </c:pt>
                <c:pt idx="593">
                  <c:v>44701</c:v>
                </c:pt>
                <c:pt idx="594">
                  <c:v>44708</c:v>
                </c:pt>
                <c:pt idx="595">
                  <c:v>44715</c:v>
                </c:pt>
                <c:pt idx="596">
                  <c:v>44722</c:v>
                </c:pt>
                <c:pt idx="597">
                  <c:v>44729</c:v>
                </c:pt>
                <c:pt idx="598">
                  <c:v>44736</c:v>
                </c:pt>
                <c:pt idx="599">
                  <c:v>44743</c:v>
                </c:pt>
                <c:pt idx="600">
                  <c:v>44750</c:v>
                </c:pt>
                <c:pt idx="601">
                  <c:v>44757</c:v>
                </c:pt>
                <c:pt idx="602">
                  <c:v>44764</c:v>
                </c:pt>
                <c:pt idx="603">
                  <c:v>44771</c:v>
                </c:pt>
                <c:pt idx="604">
                  <c:v>44778</c:v>
                </c:pt>
                <c:pt idx="605">
                  <c:v>44785</c:v>
                </c:pt>
                <c:pt idx="606">
                  <c:v>44792</c:v>
                </c:pt>
                <c:pt idx="607">
                  <c:v>44799</c:v>
                </c:pt>
                <c:pt idx="608">
                  <c:v>44806</c:v>
                </c:pt>
                <c:pt idx="609">
                  <c:v>44813</c:v>
                </c:pt>
                <c:pt idx="610">
                  <c:v>44820</c:v>
                </c:pt>
                <c:pt idx="611">
                  <c:v>44827</c:v>
                </c:pt>
                <c:pt idx="612">
                  <c:v>44834</c:v>
                </c:pt>
                <c:pt idx="613">
                  <c:v>44841</c:v>
                </c:pt>
                <c:pt idx="614">
                  <c:v>44848</c:v>
                </c:pt>
                <c:pt idx="615">
                  <c:v>44855</c:v>
                </c:pt>
                <c:pt idx="616">
                  <c:v>44862</c:v>
                </c:pt>
                <c:pt idx="617">
                  <c:v>44869</c:v>
                </c:pt>
                <c:pt idx="618">
                  <c:v>44876</c:v>
                </c:pt>
                <c:pt idx="619">
                  <c:v>44883</c:v>
                </c:pt>
                <c:pt idx="620">
                  <c:v>44890</c:v>
                </c:pt>
                <c:pt idx="621">
                  <c:v>44897</c:v>
                </c:pt>
                <c:pt idx="622">
                  <c:v>44904</c:v>
                </c:pt>
                <c:pt idx="623">
                  <c:v>44911</c:v>
                </c:pt>
                <c:pt idx="624">
                  <c:v>44918</c:v>
                </c:pt>
                <c:pt idx="625">
                  <c:v>44925</c:v>
                </c:pt>
                <c:pt idx="626">
                  <c:v>44932</c:v>
                </c:pt>
              </c:numCache>
            </c:numRef>
          </c:cat>
          <c:val>
            <c:numRef>
              <c:f>'LC JFP'!$F$469:$F$1097</c:f>
              <c:numCache>
                <c:formatCode>0.0</c:formatCode>
                <c:ptCount val="629"/>
                <c:pt idx="0">
                  <c:v>106.89239774986254</c:v>
                </c:pt>
                <c:pt idx="1">
                  <c:v>111.71738662725789</c:v>
                </c:pt>
                <c:pt idx="2">
                  <c:v>112.88865713876146</c:v>
                </c:pt>
                <c:pt idx="3">
                  <c:v>114.12835716772666</c:v>
                </c:pt>
                <c:pt idx="4">
                  <c:v>117.25662323203983</c:v>
                </c:pt>
                <c:pt idx="5">
                  <c:v>117.53525420250726</c:v>
                </c:pt>
                <c:pt idx="6">
                  <c:v>119.21130566696831</c:v>
                </c:pt>
                <c:pt idx="7">
                  <c:v>128.23711629160053</c:v>
                </c:pt>
                <c:pt idx="8">
                  <c:v>134.73112776152655</c:v>
                </c:pt>
                <c:pt idx="9">
                  <c:v>132.3267099378908</c:v>
                </c:pt>
                <c:pt idx="10">
                  <c:v>134.41075020474054</c:v>
                </c:pt>
                <c:pt idx="11">
                  <c:v>134.64099127918124</c:v>
                </c:pt>
                <c:pt idx="12">
                  <c:v>136.36301644505733</c:v>
                </c:pt>
                <c:pt idx="13">
                  <c:v>143.05111720844675</c:v>
                </c:pt>
                <c:pt idx="14">
                  <c:v>139.97273323271435</c:v>
                </c:pt>
                <c:pt idx="15">
                  <c:v>140.17454612131178</c:v>
                </c:pt>
                <c:pt idx="16">
                  <c:v>141.75504906771073</c:v>
                </c:pt>
                <c:pt idx="17">
                  <c:v>127.293181435733</c:v>
                </c:pt>
                <c:pt idx="18">
                  <c:v>129.53418130177587</c:v>
                </c:pt>
                <c:pt idx="19">
                  <c:v>126.1</c:v>
                </c:pt>
                <c:pt idx="20">
                  <c:v>130.19999999999999</c:v>
                </c:pt>
                <c:pt idx="21">
                  <c:v>131.30000000000001</c:v>
                </c:pt>
                <c:pt idx="22">
                  <c:v>134.16</c:v>
                </c:pt>
                <c:pt idx="23" formatCode="General">
                  <c:v>128.69999999999999</c:v>
                </c:pt>
                <c:pt idx="24">
                  <c:v>121.75534382332229</c:v>
                </c:pt>
                <c:pt idx="25">
                  <c:v>125.92648931182146</c:v>
                </c:pt>
                <c:pt idx="26">
                  <c:v>125.97122111928982</c:v>
                </c:pt>
                <c:pt idx="27">
                  <c:v>132.20988861649397</c:v>
                </c:pt>
                <c:pt idx="28">
                  <c:v>133.98388924143171</c:v>
                </c:pt>
                <c:pt idx="29">
                  <c:v>132.8489101484484</c:v>
                </c:pt>
                <c:pt idx="30">
                  <c:v>124.92181364178511</c:v>
                </c:pt>
                <c:pt idx="31">
                  <c:v>125.07770074357749</c:v>
                </c:pt>
                <c:pt idx="32">
                  <c:v>124.64640555646024</c:v>
                </c:pt>
                <c:pt idx="33">
                  <c:v>128.19999999999999</c:v>
                </c:pt>
                <c:pt idx="34">
                  <c:v>128.84867409574144</c:v>
                </c:pt>
                <c:pt idx="35">
                  <c:v>126.84930766010056</c:v>
                </c:pt>
                <c:pt idx="36">
                  <c:v>128.04731825181278</c:v>
                </c:pt>
                <c:pt idx="37">
                  <c:v>122.00090894675951</c:v>
                </c:pt>
                <c:pt idx="38">
                  <c:v>121.54606216579425</c:v>
                </c:pt>
                <c:pt idx="39">
                  <c:v>122.16573180049529</c:v>
                </c:pt>
                <c:pt idx="40">
                  <c:v>128.7766321619051</c:v>
                </c:pt>
                <c:pt idx="41">
                  <c:v>128.36876794489993</c:v>
                </c:pt>
                <c:pt idx="42">
                  <c:v>130.61947158337475</c:v>
                </c:pt>
                <c:pt idx="43">
                  <c:v>130.46235873981641</c:v>
                </c:pt>
                <c:pt idx="44">
                  <c:v>134.13351605007389</c:v>
                </c:pt>
                <c:pt idx="45">
                  <c:v>129.99268996008021</c:v>
                </c:pt>
                <c:pt idx="46">
                  <c:v>126.32730580153172</c:v>
                </c:pt>
                <c:pt idx="47">
                  <c:v>126.36405922844398</c:v>
                </c:pt>
                <c:pt idx="48">
                  <c:v>126.6</c:v>
                </c:pt>
                <c:pt idx="49">
                  <c:v>120.75716920126055</c:v>
                </c:pt>
                <c:pt idx="50">
                  <c:v>123.48898432112145</c:v>
                </c:pt>
                <c:pt idx="51">
                  <c:v>124.21070907148335</c:v>
                </c:pt>
                <c:pt idx="52">
                  <c:v>129.93383939411262</c:v>
                </c:pt>
                <c:pt idx="53">
                  <c:v>129.52229717296245</c:v>
                </c:pt>
                <c:pt idx="54">
                  <c:v>129.1740778745073</c:v>
                </c:pt>
                <c:pt idx="55">
                  <c:v>129.52787363875038</c:v>
                </c:pt>
                <c:pt idx="56">
                  <c:v>130.59140412795745</c:v>
                </c:pt>
                <c:pt idx="57">
                  <c:v>133.8752824848209</c:v>
                </c:pt>
                <c:pt idx="58">
                  <c:v>134.82394243837305</c:v>
                </c:pt>
                <c:pt idx="59">
                  <c:v>139.93038503987853</c:v>
                </c:pt>
                <c:pt idx="60">
                  <c:v>137.13087393838595</c:v>
                </c:pt>
                <c:pt idx="61">
                  <c:v>139.46633132481421</c:v>
                </c:pt>
                <c:pt idx="62">
                  <c:v>139.42191116481419</c:v>
                </c:pt>
                <c:pt idx="63">
                  <c:v>138.08385585173951</c:v>
                </c:pt>
                <c:pt idx="64">
                  <c:v>139.29385718941671</c:v>
                </c:pt>
                <c:pt idx="65">
                  <c:v>138.57504994537294</c:v>
                </c:pt>
                <c:pt idx="66">
                  <c:v>136.30932986524994</c:v>
                </c:pt>
                <c:pt idx="67">
                  <c:v>134.74302217970401</c:v>
                </c:pt>
                <c:pt idx="68">
                  <c:v>135.59038061579446</c:v>
                </c:pt>
                <c:pt idx="69">
                  <c:v>130.01867741889052</c:v>
                </c:pt>
                <c:pt idx="70">
                  <c:v>128.32153229271719</c:v>
                </c:pt>
                <c:pt idx="71">
                  <c:v>122.96091569336963</c:v>
                </c:pt>
                <c:pt idx="72">
                  <c:v>122.63482959312043</c:v>
                </c:pt>
                <c:pt idx="73">
                  <c:v>114.46154980564035</c:v>
                </c:pt>
                <c:pt idx="74">
                  <c:v>114.2154843021348</c:v>
                </c:pt>
                <c:pt idx="75">
                  <c:v>114.37722694376541</c:v>
                </c:pt>
                <c:pt idx="76">
                  <c:v>112.21827818264403</c:v>
                </c:pt>
                <c:pt idx="77">
                  <c:v>114.2014842465197</c:v>
                </c:pt>
                <c:pt idx="78">
                  <c:v>117.36882163498035</c:v>
                </c:pt>
                <c:pt idx="79">
                  <c:v>119.64545491335862</c:v>
                </c:pt>
                <c:pt idx="80">
                  <c:v>125.71264865043298</c:v>
                </c:pt>
                <c:pt idx="81">
                  <c:v>124.45236537988774</c:v>
                </c:pt>
                <c:pt idx="82">
                  <c:v>125.96744211766426</c:v>
                </c:pt>
                <c:pt idx="83">
                  <c:v>131.81649904831912</c:v>
                </c:pt>
                <c:pt idx="84">
                  <c:v>134.01156593064394</c:v>
                </c:pt>
                <c:pt idx="85">
                  <c:v>135.56538576325218</c:v>
                </c:pt>
                <c:pt idx="86">
                  <c:v>137.51724797170741</c:v>
                </c:pt>
                <c:pt idx="87">
                  <c:v>136.62066948489542</c:v>
                </c:pt>
                <c:pt idx="88">
                  <c:v>138.7175846219757</c:v>
                </c:pt>
                <c:pt idx="89">
                  <c:v>133.09407429304767</c:v>
                </c:pt>
                <c:pt idx="90">
                  <c:v>133.63475361009614</c:v>
                </c:pt>
                <c:pt idx="91">
                  <c:v>134.40682596262988</c:v>
                </c:pt>
                <c:pt idx="92">
                  <c:v>136.20266813180999</c:v>
                </c:pt>
                <c:pt idx="93">
                  <c:v>132.93369326973647</c:v>
                </c:pt>
                <c:pt idx="94">
                  <c:v>128.61503223889744</c:v>
                </c:pt>
                <c:pt idx="95">
                  <c:v>124.68316225812373</c:v>
                </c:pt>
                <c:pt idx="96">
                  <c:v>126.15752815988408</c:v>
                </c:pt>
                <c:pt idx="97">
                  <c:v>126.59418122830786</c:v>
                </c:pt>
                <c:pt idx="98">
                  <c:v>129.66317643301832</c:v>
                </c:pt>
                <c:pt idx="99">
                  <c:v>128.32360006264938</c:v>
                </c:pt>
                <c:pt idx="100">
                  <c:v>126.63458859128416</c:v>
                </c:pt>
                <c:pt idx="101">
                  <c:v>125.40020997895154</c:v>
                </c:pt>
                <c:pt idx="102">
                  <c:v>128.22063403742462</c:v>
                </c:pt>
                <c:pt idx="103">
                  <c:v>128.29</c:v>
                </c:pt>
                <c:pt idx="104">
                  <c:v>128.04</c:v>
                </c:pt>
                <c:pt idx="105">
                  <c:v>129.57629048867113</c:v>
                </c:pt>
                <c:pt idx="106">
                  <c:v>131.1625006049531</c:v>
                </c:pt>
                <c:pt idx="107">
                  <c:v>132.39990945747252</c:v>
                </c:pt>
                <c:pt idx="108">
                  <c:v>136.39953811551169</c:v>
                </c:pt>
                <c:pt idx="109">
                  <c:v>139.81785312817968</c:v>
                </c:pt>
                <c:pt idx="110">
                  <c:v>138.315598049698</c:v>
                </c:pt>
                <c:pt idx="111">
                  <c:v>135.28847020261938</c:v>
                </c:pt>
                <c:pt idx="112">
                  <c:v>135.40766554381656</c:v>
                </c:pt>
                <c:pt idx="113">
                  <c:v>127.46701868280579</c:v>
                </c:pt>
                <c:pt idx="114">
                  <c:v>125.36648100968915</c:v>
                </c:pt>
                <c:pt idx="115">
                  <c:v>121.53651056546454</c:v>
                </c:pt>
                <c:pt idx="116">
                  <c:v>125.22514720539685</c:v>
                </c:pt>
                <c:pt idx="117">
                  <c:v>121.2871552356726</c:v>
                </c:pt>
                <c:pt idx="118">
                  <c:v>117.83320857339504</c:v>
                </c:pt>
                <c:pt idx="119">
                  <c:v>113.48096342195777</c:v>
                </c:pt>
                <c:pt idx="120">
                  <c:v>113.8340352823576</c:v>
                </c:pt>
                <c:pt idx="121">
                  <c:v>114.88386053168438</c:v>
                </c:pt>
                <c:pt idx="122">
                  <c:v>115.70938940056837</c:v>
                </c:pt>
                <c:pt idx="123">
                  <c:v>118.11176407246499</c:v>
                </c:pt>
                <c:pt idx="124">
                  <c:v>115.35273476451808</c:v>
                </c:pt>
                <c:pt idx="125">
                  <c:v>114.27820891059675</c:v>
                </c:pt>
                <c:pt idx="126">
                  <c:v>118.02288020189037</c:v>
                </c:pt>
                <c:pt idx="127">
                  <c:v>121.13500641558234</c:v>
                </c:pt>
                <c:pt idx="128">
                  <c:v>116.80112911885877</c:v>
                </c:pt>
                <c:pt idx="129">
                  <c:v>117.38880452077773</c:v>
                </c:pt>
                <c:pt idx="130">
                  <c:v>121.65437225913693</c:v>
                </c:pt>
                <c:pt idx="131">
                  <c:v>123.53868730218903</c:v>
                </c:pt>
                <c:pt idx="132">
                  <c:v>125.13871127787226</c:v>
                </c:pt>
                <c:pt idx="133">
                  <c:v>123.38466218328352</c:v>
                </c:pt>
                <c:pt idx="134">
                  <c:v>125.64511206989356</c:v>
                </c:pt>
                <c:pt idx="135">
                  <c:v>123.82071448471983</c:v>
                </c:pt>
                <c:pt idx="136">
                  <c:v>126.80779701028121</c:v>
                </c:pt>
                <c:pt idx="137">
                  <c:v>127.32729626730314</c:v>
                </c:pt>
                <c:pt idx="138">
                  <c:v>130.09599099309676</c:v>
                </c:pt>
                <c:pt idx="139">
                  <c:v>129.10245658813028</c:v>
                </c:pt>
                <c:pt idx="140">
                  <c:v>127.01898929695056</c:v>
                </c:pt>
                <c:pt idx="141">
                  <c:v>123.82755971084475</c:v>
                </c:pt>
                <c:pt idx="142">
                  <c:v>122.76041068139509</c:v>
                </c:pt>
                <c:pt idx="143">
                  <c:v>123.63433161439805</c:v>
                </c:pt>
                <c:pt idx="144">
                  <c:v>125.07271335880472</c:v>
                </c:pt>
                <c:pt idx="145">
                  <c:v>125.29330894657745</c:v>
                </c:pt>
                <c:pt idx="146">
                  <c:v>121.4269599447979</c:v>
                </c:pt>
                <c:pt idx="147">
                  <c:v>121.91063109314048</c:v>
                </c:pt>
                <c:pt idx="148">
                  <c:v>119.78730879094439</c:v>
                </c:pt>
                <c:pt idx="149">
                  <c:v>122.45799514342211</c:v>
                </c:pt>
                <c:pt idx="150">
                  <c:v>126.07363056300493</c:v>
                </c:pt>
                <c:pt idx="151">
                  <c:v>127.22254962045052</c:v>
                </c:pt>
                <c:pt idx="152">
                  <c:v>127.74911025172676</c:v>
                </c:pt>
                <c:pt idx="153">
                  <c:v>124.94959272741667</c:v>
                </c:pt>
                <c:pt idx="154">
                  <c:v>128.90303325226458</c:v>
                </c:pt>
                <c:pt idx="155">
                  <c:v>129.72629565111058</c:v>
                </c:pt>
                <c:pt idx="156">
                  <c:v>124.71963295905712</c:v>
                </c:pt>
                <c:pt idx="157">
                  <c:v>123.52573924264053</c:v>
                </c:pt>
                <c:pt idx="158">
                  <c:v>123.30143423865589</c:v>
                </c:pt>
                <c:pt idx="159">
                  <c:v>124.58203683559282</c:v>
                </c:pt>
                <c:pt idx="160">
                  <c:v>124.59762777911189</c:v>
                </c:pt>
                <c:pt idx="161">
                  <c:v>125.02907478925751</c:v>
                </c:pt>
                <c:pt idx="162">
                  <c:v>125.58676604111736</c:v>
                </c:pt>
                <c:pt idx="163">
                  <c:v>126.19624069851112</c:v>
                </c:pt>
                <c:pt idx="164">
                  <c:v>124.13108120161124</c:v>
                </c:pt>
                <c:pt idx="165">
                  <c:v>123.39933549402053</c:v>
                </c:pt>
                <c:pt idx="166">
                  <c:v>121.40922707831636</c:v>
                </c:pt>
                <c:pt idx="167">
                  <c:v>120.4452687396393</c:v>
                </c:pt>
                <c:pt idx="168">
                  <c:v>121.77710231144381</c:v>
                </c:pt>
                <c:pt idx="169">
                  <c:v>120.35771765871729</c:v>
                </c:pt>
                <c:pt idx="170">
                  <c:v>120.92661599965203</c:v>
                </c:pt>
                <c:pt idx="171">
                  <c:v>124.18862611363323</c:v>
                </c:pt>
                <c:pt idx="172">
                  <c:v>123.69130148635</c:v>
                </c:pt>
                <c:pt idx="173">
                  <c:v>122.17810789207003</c:v>
                </c:pt>
                <c:pt idx="174">
                  <c:v>121.89909057637537</c:v>
                </c:pt>
                <c:pt idx="175">
                  <c:v>123.07846191172244</c:v>
                </c:pt>
                <c:pt idx="176">
                  <c:v>122.58344382299052</c:v>
                </c:pt>
                <c:pt idx="177">
                  <c:v>120.00595424593756</c:v>
                </c:pt>
                <c:pt idx="178">
                  <c:v>119.4954789070744</c:v>
                </c:pt>
                <c:pt idx="179">
                  <c:v>123.95038235965131</c:v>
                </c:pt>
                <c:pt idx="180">
                  <c:v>126.71128469529587</c:v>
                </c:pt>
                <c:pt idx="181">
                  <c:v>124.29645972334485</c:v>
                </c:pt>
                <c:pt idx="182">
                  <c:v>121.49657666596683</c:v>
                </c:pt>
                <c:pt idx="183">
                  <c:v>119.99940536002683</c:v>
                </c:pt>
                <c:pt idx="184">
                  <c:v>119.65827253822837</c:v>
                </c:pt>
                <c:pt idx="185">
                  <c:v>121.49255919244028</c:v>
                </c:pt>
                <c:pt idx="186">
                  <c:v>120.54071660693653</c:v>
                </c:pt>
                <c:pt idx="187">
                  <c:v>121.11</c:v>
                </c:pt>
                <c:pt idx="188">
                  <c:v>119.76</c:v>
                </c:pt>
                <c:pt idx="189">
                  <c:v>119.5</c:v>
                </c:pt>
                <c:pt idx="190">
                  <c:v>120.58732732099944</c:v>
                </c:pt>
                <c:pt idx="191">
                  <c:v>117.95</c:v>
                </c:pt>
                <c:pt idx="192">
                  <c:v>114.69617820424317</c:v>
                </c:pt>
                <c:pt idx="193">
                  <c:v>112.8</c:v>
                </c:pt>
                <c:pt idx="194">
                  <c:v>112.01446764543152</c:v>
                </c:pt>
                <c:pt idx="195" formatCode="0.00">
                  <c:v>107.7730487326276</c:v>
                </c:pt>
                <c:pt idx="196">
                  <c:v>105.0803949301436</c:v>
                </c:pt>
                <c:pt idx="197">
                  <c:v>102.53</c:v>
                </c:pt>
                <c:pt idx="198">
                  <c:v>101.75</c:v>
                </c:pt>
                <c:pt idx="199">
                  <c:v>103.86652570804047</c:v>
                </c:pt>
                <c:pt idx="200">
                  <c:v>102.66447071019637</c:v>
                </c:pt>
                <c:pt idx="201">
                  <c:v>97.23</c:v>
                </c:pt>
                <c:pt idx="202">
                  <c:v>97.76</c:v>
                </c:pt>
                <c:pt idx="203">
                  <c:v>92.83</c:v>
                </c:pt>
                <c:pt idx="204">
                  <c:v>85.8</c:v>
                </c:pt>
                <c:pt idx="205">
                  <c:v>78.489999999999995</c:v>
                </c:pt>
                <c:pt idx="206">
                  <c:v>76.38</c:v>
                </c:pt>
                <c:pt idx="207">
                  <c:v>74.95</c:v>
                </c:pt>
                <c:pt idx="208">
                  <c:v>71.73527424377167</c:v>
                </c:pt>
                <c:pt idx="209">
                  <c:v>65.780382211489368</c:v>
                </c:pt>
                <c:pt idx="210">
                  <c:v>64.898138676440382</c:v>
                </c:pt>
                <c:pt idx="211">
                  <c:v>64.999971442670002</c:v>
                </c:pt>
                <c:pt idx="212">
                  <c:v>65.747426776493697</c:v>
                </c:pt>
                <c:pt idx="213" formatCode="0.00">
                  <c:v>73.98</c:v>
                </c:pt>
                <c:pt idx="214">
                  <c:v>77.646803108233328</c:v>
                </c:pt>
                <c:pt idx="215">
                  <c:v>77.473605865077928</c:v>
                </c:pt>
                <c:pt idx="216">
                  <c:v>77.516027507083493</c:v>
                </c:pt>
                <c:pt idx="217">
                  <c:v>74.589960056613222</c:v>
                </c:pt>
                <c:pt idx="218">
                  <c:v>68.991369674993393</c:v>
                </c:pt>
                <c:pt idx="219">
                  <c:v>68.432461257792582</c:v>
                </c:pt>
                <c:pt idx="220">
                  <c:v>70.27</c:v>
                </c:pt>
                <c:pt idx="221">
                  <c:v>68.390866414694031</c:v>
                </c:pt>
                <c:pt idx="222">
                  <c:v>70.14545669997355</c:v>
                </c:pt>
                <c:pt idx="223">
                  <c:v>74.777641468469596</c:v>
                </c:pt>
                <c:pt idx="224">
                  <c:v>75.822336555507945</c:v>
                </c:pt>
                <c:pt idx="225">
                  <c:v>78.09910911917126</c:v>
                </c:pt>
                <c:pt idx="226">
                  <c:v>78.679006085009334</c:v>
                </c:pt>
                <c:pt idx="227">
                  <c:v>81.660336585319328</c:v>
                </c:pt>
                <c:pt idx="228">
                  <c:v>78.729941988603926</c:v>
                </c:pt>
                <c:pt idx="229">
                  <c:v>77.274323137702567</c:v>
                </c:pt>
                <c:pt idx="230">
                  <c:v>73.704854536780147</c:v>
                </c:pt>
                <c:pt idx="231">
                  <c:v>75.269320867841316</c:v>
                </c:pt>
                <c:pt idx="232">
                  <c:v>74.16693408370962</c:v>
                </c:pt>
                <c:pt idx="233">
                  <c:v>74</c:v>
                </c:pt>
                <c:pt idx="234">
                  <c:v>72.650000000000006</c:v>
                </c:pt>
                <c:pt idx="235">
                  <c:v>68.60745682148135</c:v>
                </c:pt>
                <c:pt idx="236">
                  <c:v>66.288840843446962</c:v>
                </c:pt>
                <c:pt idx="237">
                  <c:v>65.626923594455633</c:v>
                </c:pt>
                <c:pt idx="238">
                  <c:v>63.527099089374069</c:v>
                </c:pt>
                <c:pt idx="239" formatCode="0.000000">
                  <c:v>60.84</c:v>
                </c:pt>
                <c:pt idx="240" formatCode="0.000000">
                  <c:v>61.43</c:v>
                </c:pt>
                <c:pt idx="241" formatCode="0.000000">
                  <c:v>58.040707917427369</c:v>
                </c:pt>
                <c:pt idx="242" formatCode="0.000000">
                  <c:v>61.568991636097863</c:v>
                </c:pt>
                <c:pt idx="243">
                  <c:v>63.16567935516472</c:v>
                </c:pt>
                <c:pt idx="244">
                  <c:v>61.274031167001581</c:v>
                </c:pt>
                <c:pt idx="245">
                  <c:v>60.073334757924854</c:v>
                </c:pt>
                <c:pt idx="246">
                  <c:v>60.931950322572433</c:v>
                </c:pt>
                <c:pt idx="247">
                  <c:v>63.452076833225007</c:v>
                </c:pt>
                <c:pt idx="248">
                  <c:v>60.503258498465804</c:v>
                </c:pt>
                <c:pt idx="249">
                  <c:v>60.881447192618445</c:v>
                </c:pt>
                <c:pt idx="250">
                  <c:v>60.129486407805814</c:v>
                </c:pt>
                <c:pt idx="251">
                  <c:v>61.046248677277781</c:v>
                </c:pt>
                <c:pt idx="252">
                  <c:v>60.523510256911798</c:v>
                </c:pt>
                <c:pt idx="253">
                  <c:v>57.460326683652788</c:v>
                </c:pt>
                <c:pt idx="254">
                  <c:v>56.960647870963932</c:v>
                </c:pt>
                <c:pt idx="255">
                  <c:v>57.639165382995472</c:v>
                </c:pt>
                <c:pt idx="256">
                  <c:v>55.62</c:v>
                </c:pt>
                <c:pt idx="257">
                  <c:v>48.710468930558747</c:v>
                </c:pt>
                <c:pt idx="258">
                  <c:v>48.187175929671277</c:v>
                </c:pt>
                <c:pt idx="259">
                  <c:v>48.232360316239571</c:v>
                </c:pt>
                <c:pt idx="260">
                  <c:v>47.443106460174434</c:v>
                </c:pt>
                <c:pt idx="261">
                  <c:v>38.450000000000003</c:v>
                </c:pt>
                <c:pt idx="262">
                  <c:v>37.33542702042724</c:v>
                </c:pt>
                <c:pt idx="263">
                  <c:v>38.337040978520065</c:v>
                </c:pt>
                <c:pt idx="264">
                  <c:v>42.47635461667241</c:v>
                </c:pt>
                <c:pt idx="265">
                  <c:v>42.872339978930633</c:v>
                </c:pt>
                <c:pt idx="266">
                  <c:v>41.632482568451984</c:v>
                </c:pt>
                <c:pt idx="267">
                  <c:v>41.622190947510795</c:v>
                </c:pt>
                <c:pt idx="268">
                  <c:v>43.113812014283376</c:v>
                </c:pt>
                <c:pt idx="269">
                  <c:v>45.245150267112898</c:v>
                </c:pt>
                <c:pt idx="270">
                  <c:v>48.241830691920399</c:v>
                </c:pt>
                <c:pt idx="271">
                  <c:v>49.452888093707109</c:v>
                </c:pt>
                <c:pt idx="272">
                  <c:v>48.061644251245667</c:v>
                </c:pt>
                <c:pt idx="273">
                  <c:v>45.981423858160085</c:v>
                </c:pt>
                <c:pt idx="274">
                  <c:v>48.189947190592328</c:v>
                </c:pt>
                <c:pt idx="275">
                  <c:v>49.164540597425543</c:v>
                </c:pt>
                <c:pt idx="276">
                  <c:v>52.082627932757184</c:v>
                </c:pt>
                <c:pt idx="277">
                  <c:v>54.829082460895009</c:v>
                </c:pt>
                <c:pt idx="278">
                  <c:v>52.265241823498293</c:v>
                </c:pt>
                <c:pt idx="279">
                  <c:v>55.020816329297922</c:v>
                </c:pt>
                <c:pt idx="280">
                  <c:v>58.35</c:v>
                </c:pt>
                <c:pt idx="281">
                  <c:v>59.08</c:v>
                </c:pt>
                <c:pt idx="282">
                  <c:v>59.08</c:v>
                </c:pt>
                <c:pt idx="283">
                  <c:v>59.980000000000004</c:v>
                </c:pt>
                <c:pt idx="284">
                  <c:v>57.870000000000005</c:v>
                </c:pt>
                <c:pt idx="285">
                  <c:v>58.01</c:v>
                </c:pt>
                <c:pt idx="286">
                  <c:v>58.95</c:v>
                </c:pt>
                <c:pt idx="287">
                  <c:v>55.95</c:v>
                </c:pt>
                <c:pt idx="288">
                  <c:v>54.88</c:v>
                </c:pt>
                <c:pt idx="289">
                  <c:v>53.12</c:v>
                </c:pt>
                <c:pt idx="290">
                  <c:v>49.910000000000004</c:v>
                </c:pt>
                <c:pt idx="291">
                  <c:v>50.57</c:v>
                </c:pt>
                <c:pt idx="292">
                  <c:v>54.6</c:v>
                </c:pt>
                <c:pt idx="293">
                  <c:v>59.42</c:v>
                </c:pt>
                <c:pt idx="294">
                  <c:v>58.7</c:v>
                </c:pt>
                <c:pt idx="295">
                  <c:v>55.09</c:v>
                </c:pt>
                <c:pt idx="296">
                  <c:v>56.7</c:v>
                </c:pt>
                <c:pt idx="297">
                  <c:v>55.08</c:v>
                </c:pt>
                <c:pt idx="298">
                  <c:v>56.15</c:v>
                </c:pt>
                <c:pt idx="299">
                  <c:v>59.65</c:v>
                </c:pt>
                <c:pt idx="300">
                  <c:v>62.29</c:v>
                </c:pt>
                <c:pt idx="301">
                  <c:v>61.78</c:v>
                </c:pt>
                <c:pt idx="302">
                  <c:v>61.76</c:v>
                </c:pt>
                <c:pt idx="303">
                  <c:v>61.300000000000004</c:v>
                </c:pt>
                <c:pt idx="304">
                  <c:v>56.17</c:v>
                </c:pt>
                <c:pt idx="305">
                  <c:v>55.32</c:v>
                </c:pt>
                <c:pt idx="306">
                  <c:v>56.74</c:v>
                </c:pt>
                <c:pt idx="307">
                  <c:v>58.96</c:v>
                </c:pt>
                <c:pt idx="308">
                  <c:v>63.18</c:v>
                </c:pt>
                <c:pt idx="309">
                  <c:v>63.8</c:v>
                </c:pt>
                <c:pt idx="310">
                  <c:v>64.3</c:v>
                </c:pt>
                <c:pt idx="311">
                  <c:v>64.5</c:v>
                </c:pt>
                <c:pt idx="312" formatCode="0">
                  <c:v>67.099999999999994</c:v>
                </c:pt>
                <c:pt idx="313" formatCode="0.00">
                  <c:v>66.63</c:v>
                </c:pt>
                <c:pt idx="314" formatCode="0.00">
                  <c:v>65.460000000000008</c:v>
                </c:pt>
                <c:pt idx="315" formatCode="0.00">
                  <c:v>64.88</c:v>
                </c:pt>
                <c:pt idx="316" formatCode="0.00">
                  <c:v>65.23</c:v>
                </c:pt>
                <c:pt idx="317" formatCode="0.00">
                  <c:v>67.040000000000006</c:v>
                </c:pt>
                <c:pt idx="318" formatCode="0.00">
                  <c:v>67.430000000000007</c:v>
                </c:pt>
                <c:pt idx="319" formatCode="0.00">
                  <c:v>66.47</c:v>
                </c:pt>
                <c:pt idx="320" formatCode="0.00">
                  <c:v>66.790000000000006</c:v>
                </c:pt>
                <c:pt idx="321" formatCode="0.00">
                  <c:v>64.89</c:v>
                </c:pt>
                <c:pt idx="322" formatCode="0.00">
                  <c:v>61.11</c:v>
                </c:pt>
                <c:pt idx="323" formatCode="0.00">
                  <c:v>61.04</c:v>
                </c:pt>
                <c:pt idx="324" formatCode="0.00">
                  <c:v>60.61</c:v>
                </c:pt>
                <c:pt idx="325" formatCode="0.00">
                  <c:v>63.47</c:v>
                </c:pt>
                <c:pt idx="326" formatCode="0.00">
                  <c:v>66.099999999999994</c:v>
                </c:pt>
                <c:pt idx="327" formatCode="0.00">
                  <c:v>66.95</c:v>
                </c:pt>
                <c:pt idx="328" formatCode="0.00">
                  <c:v>63.33</c:v>
                </c:pt>
                <c:pt idx="329" formatCode="0.00">
                  <c:v>60.99</c:v>
                </c:pt>
                <c:pt idx="330" formatCode="0.00">
                  <c:v>57.88</c:v>
                </c:pt>
                <c:pt idx="331" formatCode="0.00">
                  <c:v>59.63</c:v>
                </c:pt>
                <c:pt idx="332" formatCode="0.00">
                  <c:v>63.190000000000005</c:v>
                </c:pt>
                <c:pt idx="333" formatCode="0.00">
                  <c:v>62.2</c:v>
                </c:pt>
                <c:pt idx="334" formatCode="0.00">
                  <c:v>58.7</c:v>
                </c:pt>
                <c:pt idx="335" formatCode="0.00">
                  <c:v>56.77</c:v>
                </c:pt>
                <c:pt idx="336" formatCode="0.00">
                  <c:v>56.89</c:v>
                </c:pt>
                <c:pt idx="337" formatCode="0.00">
                  <c:v>55.29</c:v>
                </c:pt>
                <c:pt idx="338" formatCode="0.00">
                  <c:v>59.15</c:v>
                </c:pt>
                <c:pt idx="339" formatCode="0.00">
                  <c:v>58.33</c:v>
                </c:pt>
                <c:pt idx="340" formatCode="0.00">
                  <c:v>60.59</c:v>
                </c:pt>
                <c:pt idx="341" formatCode="0.00">
                  <c:v>61.410000000000004</c:v>
                </c:pt>
                <c:pt idx="342" formatCode="0.00">
                  <c:v>65.36</c:v>
                </c:pt>
                <c:pt idx="343" formatCode="0.00">
                  <c:v>65.73</c:v>
                </c:pt>
                <c:pt idx="344" formatCode="0.00">
                  <c:v>64.8</c:v>
                </c:pt>
                <c:pt idx="345" formatCode="0.00">
                  <c:v>64.7</c:v>
                </c:pt>
                <c:pt idx="346" formatCode="0.00">
                  <c:v>66.19</c:v>
                </c:pt>
                <c:pt idx="347" formatCode="0.00">
                  <c:v>72.88</c:v>
                </c:pt>
                <c:pt idx="348" formatCode="0.00">
                  <c:v>72.06</c:v>
                </c:pt>
                <c:pt idx="349" formatCode="0.00">
                  <c:v>71.25</c:v>
                </c:pt>
                <c:pt idx="350" formatCode="0.00">
                  <c:v>71.260000000000005</c:v>
                </c:pt>
                <c:pt idx="351" formatCode="0.00">
                  <c:v>72</c:v>
                </c:pt>
                <c:pt idx="352" formatCode="0.00">
                  <c:v>69.08</c:v>
                </c:pt>
                <c:pt idx="353" formatCode="0.00">
                  <c:v>69.900000000000006</c:v>
                </c:pt>
                <c:pt idx="354" formatCode="0.00">
                  <c:v>70.58</c:v>
                </c:pt>
                <c:pt idx="355" formatCode="0.00">
                  <c:v>72.87</c:v>
                </c:pt>
                <c:pt idx="356" formatCode="0.00">
                  <c:v>74.14</c:v>
                </c:pt>
                <c:pt idx="357" formatCode="0.00">
                  <c:v>76.58</c:v>
                </c:pt>
                <c:pt idx="358" formatCode="0.00">
                  <c:v>76.5</c:v>
                </c:pt>
                <c:pt idx="359" formatCode="0.00">
                  <c:v>77.2</c:v>
                </c:pt>
                <c:pt idx="360" formatCode="0.00">
                  <c:v>76.48</c:v>
                </c:pt>
                <c:pt idx="361" formatCode="0.00">
                  <c:v>76.83</c:v>
                </c:pt>
                <c:pt idx="362">
                  <c:v>76.150000000000006</c:v>
                </c:pt>
                <c:pt idx="363">
                  <c:v>78.040000000000006</c:v>
                </c:pt>
                <c:pt idx="364">
                  <c:v>81.290000000000006</c:v>
                </c:pt>
                <c:pt idx="365">
                  <c:v>81.93</c:v>
                </c:pt>
                <c:pt idx="366">
                  <c:v>82.83</c:v>
                </c:pt>
                <c:pt idx="367">
                  <c:v>82.350000000000009</c:v>
                </c:pt>
                <c:pt idx="368">
                  <c:v>85.48</c:v>
                </c:pt>
                <c:pt idx="369">
                  <c:v>84.15</c:v>
                </c:pt>
                <c:pt idx="370">
                  <c:v>76.67</c:v>
                </c:pt>
                <c:pt idx="371">
                  <c:v>78.900000000000006</c:v>
                </c:pt>
                <c:pt idx="372">
                  <c:v>82.59</c:v>
                </c:pt>
                <c:pt idx="373">
                  <c:v>79.09</c:v>
                </c:pt>
                <c:pt idx="374">
                  <c:v>78.260000000000005</c:v>
                </c:pt>
                <c:pt idx="375">
                  <c:v>78.2</c:v>
                </c:pt>
                <c:pt idx="376">
                  <c:v>83.05</c:v>
                </c:pt>
                <c:pt idx="377">
                  <c:v>83.43</c:v>
                </c:pt>
                <c:pt idx="378">
                  <c:v>82.26</c:v>
                </c:pt>
                <c:pt idx="379">
                  <c:v>87.600000000000009</c:v>
                </c:pt>
                <c:pt idx="380">
                  <c:v>88.34</c:v>
                </c:pt>
                <c:pt idx="381">
                  <c:v>89.34</c:v>
                </c:pt>
                <c:pt idx="382">
                  <c:v>88.850000000000009</c:v>
                </c:pt>
                <c:pt idx="383">
                  <c:v>92.12</c:v>
                </c:pt>
                <c:pt idx="384">
                  <c:v>93.98</c:v>
                </c:pt>
                <c:pt idx="385">
                  <c:v>91.52</c:v>
                </c:pt>
                <c:pt idx="386">
                  <c:v>90.4</c:v>
                </c:pt>
                <c:pt idx="387">
                  <c:v>89.9</c:v>
                </c:pt>
                <c:pt idx="388">
                  <c:v>86.93</c:v>
                </c:pt>
                <c:pt idx="389">
                  <c:v>87.18</c:v>
                </c:pt>
                <c:pt idx="390">
                  <c:v>90.88</c:v>
                </c:pt>
                <c:pt idx="391">
                  <c:v>90.210000000000008</c:v>
                </c:pt>
                <c:pt idx="392">
                  <c:v>88.12</c:v>
                </c:pt>
                <c:pt idx="393">
                  <c:v>87.27</c:v>
                </c:pt>
                <c:pt idx="394">
                  <c:v>89.91</c:v>
                </c:pt>
                <c:pt idx="395">
                  <c:v>88.06</c:v>
                </c:pt>
                <c:pt idx="396">
                  <c:v>87.960000000000008</c:v>
                </c:pt>
                <c:pt idx="397">
                  <c:v>86.97</c:v>
                </c:pt>
                <c:pt idx="398">
                  <c:v>90.94</c:v>
                </c:pt>
                <c:pt idx="399">
                  <c:v>92.36</c:v>
                </c:pt>
                <c:pt idx="400">
                  <c:v>91.19</c:v>
                </c:pt>
                <c:pt idx="401">
                  <c:v>90.83</c:v>
                </c:pt>
                <c:pt idx="402">
                  <c:v>91.65</c:v>
                </c:pt>
                <c:pt idx="403">
                  <c:v>96.16</c:v>
                </c:pt>
                <c:pt idx="404">
                  <c:v>98.77</c:v>
                </c:pt>
                <c:pt idx="405">
                  <c:v>95.73</c:v>
                </c:pt>
                <c:pt idx="406">
                  <c:v>95.26</c:v>
                </c:pt>
                <c:pt idx="407">
                  <c:v>94.69</c:v>
                </c:pt>
                <c:pt idx="408">
                  <c:v>89.9</c:v>
                </c:pt>
                <c:pt idx="409">
                  <c:v>88.320000000000007</c:v>
                </c:pt>
                <c:pt idx="410">
                  <c:v>85.2</c:v>
                </c:pt>
                <c:pt idx="411">
                  <c:v>79.23</c:v>
                </c:pt>
                <c:pt idx="412">
                  <c:v>74.94</c:v>
                </c:pt>
                <c:pt idx="413">
                  <c:v>76.680000000000007</c:v>
                </c:pt>
                <c:pt idx="414">
                  <c:v>75.3</c:v>
                </c:pt>
                <c:pt idx="415">
                  <c:v>69.67</c:v>
                </c:pt>
                <c:pt idx="416">
                  <c:v>67.489999999999995</c:v>
                </c:pt>
                <c:pt idx="417">
                  <c:v>72.150000000000006</c:v>
                </c:pt>
                <c:pt idx="418">
                  <c:v>77.56</c:v>
                </c:pt>
                <c:pt idx="419">
                  <c:v>77.52</c:v>
                </c:pt>
                <c:pt idx="420">
                  <c:v>76.8</c:v>
                </c:pt>
                <c:pt idx="421">
                  <c:v>77.69</c:v>
                </c:pt>
                <c:pt idx="422">
                  <c:v>77.75</c:v>
                </c:pt>
                <c:pt idx="423">
                  <c:v>81.98</c:v>
                </c:pt>
                <c:pt idx="424">
                  <c:v>82.54</c:v>
                </c:pt>
                <c:pt idx="425">
                  <c:v>81.44</c:v>
                </c:pt>
                <c:pt idx="426">
                  <c:v>80.3</c:v>
                </c:pt>
                <c:pt idx="427">
                  <c:v>80.8</c:v>
                </c:pt>
                <c:pt idx="428">
                  <c:v>80.55</c:v>
                </c:pt>
                <c:pt idx="429">
                  <c:v>80.78</c:v>
                </c:pt>
                <c:pt idx="430">
                  <c:v>82.75</c:v>
                </c:pt>
                <c:pt idx="431">
                  <c:v>84.55</c:v>
                </c:pt>
                <c:pt idx="432">
                  <c:v>84.69</c:v>
                </c:pt>
                <c:pt idx="433">
                  <c:v>84.68</c:v>
                </c:pt>
                <c:pt idx="434">
                  <c:v>85.31</c:v>
                </c:pt>
                <c:pt idx="435">
                  <c:v>84.97</c:v>
                </c:pt>
                <c:pt idx="436">
                  <c:v>87.98</c:v>
                </c:pt>
                <c:pt idx="437">
                  <c:v>81.31</c:v>
                </c:pt>
                <c:pt idx="438">
                  <c:v>77.22</c:v>
                </c:pt>
                <c:pt idx="439">
                  <c:v>75.47</c:v>
                </c:pt>
                <c:pt idx="440">
                  <c:v>75.489999999999995</c:v>
                </c:pt>
                <c:pt idx="441">
                  <c:v>79.069999999999993</c:v>
                </c:pt>
                <c:pt idx="442">
                  <c:v>80.59</c:v>
                </c:pt>
                <c:pt idx="443">
                  <c:v>78.7</c:v>
                </c:pt>
                <c:pt idx="444">
                  <c:v>82.9</c:v>
                </c:pt>
                <c:pt idx="445" formatCode="0.00">
                  <c:v>79.319999999999993</c:v>
                </c:pt>
                <c:pt idx="446">
                  <c:v>80.06</c:v>
                </c:pt>
                <c:pt idx="447">
                  <c:v>78.12</c:v>
                </c:pt>
                <c:pt idx="448">
                  <c:v>74.459999999999994</c:v>
                </c:pt>
                <c:pt idx="449">
                  <c:v>75.64</c:v>
                </c:pt>
                <c:pt idx="450">
                  <c:v>75.89</c:v>
                </c:pt>
                <c:pt idx="451">
                  <c:v>76.400000000000006</c:v>
                </c:pt>
                <c:pt idx="452">
                  <c:v>77.34</c:v>
                </c:pt>
                <c:pt idx="453">
                  <c:v>76.66</c:v>
                </c:pt>
                <c:pt idx="454">
                  <c:v>83.15</c:v>
                </c:pt>
                <c:pt idx="455">
                  <c:v>81.19</c:v>
                </c:pt>
                <c:pt idx="456">
                  <c:v>78.349999999999994</c:v>
                </c:pt>
                <c:pt idx="457">
                  <c:v>80.12</c:v>
                </c:pt>
                <c:pt idx="458">
                  <c:v>79.05</c:v>
                </c:pt>
                <c:pt idx="459">
                  <c:v>80.03</c:v>
                </c:pt>
                <c:pt idx="460">
                  <c:v>77.94</c:v>
                </c:pt>
                <c:pt idx="461">
                  <c:v>78.03</c:v>
                </c:pt>
                <c:pt idx="462">
                  <c:v>78.36</c:v>
                </c:pt>
                <c:pt idx="463">
                  <c:v>78.19</c:v>
                </c:pt>
                <c:pt idx="464">
                  <c:v>78.239999999999995</c:v>
                </c:pt>
                <c:pt idx="465">
                  <c:v>78.290000000000006</c:v>
                </c:pt>
                <c:pt idx="466">
                  <c:v>79.78</c:v>
                </c:pt>
                <c:pt idx="467">
                  <c:v>82.16</c:v>
                </c:pt>
                <c:pt idx="468">
                  <c:v>83.44</c:v>
                </c:pt>
                <c:pt idx="469">
                  <c:v>84.02</c:v>
                </c:pt>
                <c:pt idx="470">
                  <c:v>79.040000000000006</c:v>
                </c:pt>
                <c:pt idx="471">
                  <c:v>76.63</c:v>
                </c:pt>
                <c:pt idx="472">
                  <c:v>72.709999999999994</c:v>
                </c:pt>
                <c:pt idx="473">
                  <c:v>66.209999999999994</c:v>
                </c:pt>
                <c:pt idx="474">
                  <c:v>66.349999999999994</c:v>
                </c:pt>
                <c:pt idx="475">
                  <c:v>67.489999999999995</c:v>
                </c:pt>
                <c:pt idx="476">
                  <c:v>67.05</c:v>
                </c:pt>
                <c:pt idx="477">
                  <c:v>58.37</c:v>
                </c:pt>
                <c:pt idx="478">
                  <c:v>54.32</c:v>
                </c:pt>
                <c:pt idx="479">
                  <c:v>42.19</c:v>
                </c:pt>
                <c:pt idx="480">
                  <c:v>30.07</c:v>
                </c:pt>
                <c:pt idx="481">
                  <c:v>31.01</c:v>
                </c:pt>
                <c:pt idx="482">
                  <c:v>29.92</c:v>
                </c:pt>
                <c:pt idx="483">
                  <c:v>25.64</c:v>
                </c:pt>
                <c:pt idx="484">
                  <c:v>26.74</c:v>
                </c:pt>
                <c:pt idx="485">
                  <c:v>17.04</c:v>
                </c:pt>
                <c:pt idx="486">
                  <c:v>19.89</c:v>
                </c:pt>
                <c:pt idx="487">
                  <c:v>26.17</c:v>
                </c:pt>
                <c:pt idx="488">
                  <c:v>30.38</c:v>
                </c:pt>
                <c:pt idx="489">
                  <c:v>34.89</c:v>
                </c:pt>
                <c:pt idx="490">
                  <c:v>35.36</c:v>
                </c:pt>
                <c:pt idx="491" formatCode="0.00">
                  <c:v>41.27</c:v>
                </c:pt>
                <c:pt idx="492">
                  <c:v>40.44</c:v>
                </c:pt>
                <c:pt idx="493">
                  <c:v>45.51</c:v>
                </c:pt>
                <c:pt idx="494">
                  <c:v>41.82</c:v>
                </c:pt>
                <c:pt idx="495">
                  <c:v>44.76</c:v>
                </c:pt>
                <c:pt idx="496">
                  <c:v>45.58</c:v>
                </c:pt>
                <c:pt idx="497">
                  <c:v>45.09</c:v>
                </c:pt>
                <c:pt idx="498">
                  <c:v>46.32</c:v>
                </c:pt>
                <c:pt idx="499">
                  <c:v>45.24</c:v>
                </c:pt>
                <c:pt idx="500">
                  <c:v>45.38</c:v>
                </c:pt>
                <c:pt idx="501">
                  <c:v>45.11</c:v>
                </c:pt>
                <c:pt idx="502">
                  <c:v>43.95</c:v>
                </c:pt>
                <c:pt idx="503">
                  <c:v>44.53</c:v>
                </c:pt>
                <c:pt idx="504">
                  <c:v>41.93</c:v>
                </c:pt>
                <c:pt idx="505">
                  <c:v>39.450000000000003</c:v>
                </c:pt>
                <c:pt idx="506">
                  <c:v>42.66</c:v>
                </c:pt>
                <c:pt idx="507">
                  <c:v>41.86</c:v>
                </c:pt>
                <c:pt idx="508">
                  <c:v>40.28</c:v>
                </c:pt>
                <c:pt idx="509">
                  <c:v>44.78</c:v>
                </c:pt>
                <c:pt idx="510">
                  <c:v>44.83</c:v>
                </c:pt>
                <c:pt idx="511">
                  <c:v>44.65</c:v>
                </c:pt>
                <c:pt idx="512">
                  <c:v>41.55</c:v>
                </c:pt>
                <c:pt idx="513">
                  <c:v>44.16</c:v>
                </c:pt>
                <c:pt idx="514">
                  <c:v>45.87</c:v>
                </c:pt>
                <c:pt idx="515">
                  <c:v>48.62</c:v>
                </c:pt>
                <c:pt idx="516">
                  <c:v>52.52</c:v>
                </c:pt>
                <c:pt idx="517">
                  <c:v>54.1</c:v>
                </c:pt>
                <c:pt idx="518">
                  <c:v>55.01</c:v>
                </c:pt>
                <c:pt idx="519">
                  <c:v>57.94</c:v>
                </c:pt>
                <c:pt idx="520">
                  <c:v>56.81</c:v>
                </c:pt>
                <c:pt idx="521">
                  <c:v>56.46</c:v>
                </c:pt>
                <c:pt idx="522">
                  <c:v>59.88</c:v>
                </c:pt>
                <c:pt idx="523">
                  <c:v>60.49</c:v>
                </c:pt>
                <c:pt idx="524">
                  <c:v>59.19</c:v>
                </c:pt>
                <c:pt idx="525">
                  <c:v>59.44</c:v>
                </c:pt>
                <c:pt idx="526">
                  <c:v>64.319999999999993</c:v>
                </c:pt>
                <c:pt idx="527">
                  <c:v>66.17</c:v>
                </c:pt>
                <c:pt idx="528">
                  <c:v>68.25</c:v>
                </c:pt>
                <c:pt idx="529">
                  <c:v>69.98</c:v>
                </c:pt>
                <c:pt idx="530">
                  <c:v>72.209999999999994</c:v>
                </c:pt>
                <c:pt idx="531">
                  <c:v>72.900000000000006</c:v>
                </c:pt>
                <c:pt idx="532">
                  <c:v>67.22</c:v>
                </c:pt>
                <c:pt idx="533">
                  <c:v>66.92</c:v>
                </c:pt>
                <c:pt idx="534">
                  <c:v>66.58</c:v>
                </c:pt>
                <c:pt idx="535">
                  <c:v>66.89</c:v>
                </c:pt>
                <c:pt idx="536">
                  <c:v>70.89</c:v>
                </c:pt>
                <c:pt idx="537">
                  <c:v>69.91</c:v>
                </c:pt>
                <c:pt idx="538">
                  <c:v>71.5</c:v>
                </c:pt>
                <c:pt idx="539">
                  <c:v>73.39</c:v>
                </c:pt>
                <c:pt idx="540">
                  <c:v>73.36</c:v>
                </c:pt>
                <c:pt idx="541">
                  <c:v>71.28</c:v>
                </c:pt>
                <c:pt idx="542">
                  <c:v>73.849999999999994</c:v>
                </c:pt>
                <c:pt idx="543">
                  <c:v>76.38</c:v>
                </c:pt>
                <c:pt idx="544">
                  <c:v>77.400000000000006</c:v>
                </c:pt>
                <c:pt idx="545">
                  <c:v>77.34</c:v>
                </c:pt>
                <c:pt idx="546">
                  <c:v>79.58</c:v>
                </c:pt>
                <c:pt idx="547">
                  <c:v>80.53</c:v>
                </c:pt>
                <c:pt idx="548">
                  <c:v>80.36</c:v>
                </c:pt>
                <c:pt idx="549">
                  <c:v>78.8</c:v>
                </c:pt>
                <c:pt idx="550">
                  <c:v>79.53</c:v>
                </c:pt>
                <c:pt idx="551">
                  <c:v>83.1</c:v>
                </c:pt>
                <c:pt idx="552">
                  <c:v>77.64</c:v>
                </c:pt>
                <c:pt idx="553">
                  <c:v>77</c:v>
                </c:pt>
                <c:pt idx="554">
                  <c:v>71.25</c:v>
                </c:pt>
                <c:pt idx="555">
                  <c:v>79.19</c:v>
                </c:pt>
                <c:pt idx="556">
                  <c:v>80.83</c:v>
                </c:pt>
                <c:pt idx="557">
                  <c:v>80.45</c:v>
                </c:pt>
                <c:pt idx="558">
                  <c:v>83.24</c:v>
                </c:pt>
                <c:pt idx="559">
                  <c:v>86.52</c:v>
                </c:pt>
                <c:pt idx="560">
                  <c:v>89.34</c:v>
                </c:pt>
                <c:pt idx="561">
                  <c:v>94.56</c:v>
                </c:pt>
                <c:pt idx="562">
                  <c:v>98.04</c:v>
                </c:pt>
                <c:pt idx="563">
                  <c:v>96.77</c:v>
                </c:pt>
                <c:pt idx="564">
                  <c:v>95.52</c:v>
                </c:pt>
                <c:pt idx="565">
                  <c:v>94.43</c:v>
                </c:pt>
                <c:pt idx="566">
                  <c:v>92.73</c:v>
                </c:pt>
                <c:pt idx="567">
                  <c:v>88.71</c:v>
                </c:pt>
                <c:pt idx="568">
                  <c:v>86.9</c:v>
                </c:pt>
                <c:pt idx="569">
                  <c:v>82.22</c:v>
                </c:pt>
                <c:pt idx="570">
                  <c:v>87.4</c:v>
                </c:pt>
                <c:pt idx="571">
                  <c:v>86.69</c:v>
                </c:pt>
                <c:pt idx="572">
                  <c:v>89.04</c:v>
                </c:pt>
                <c:pt idx="573">
                  <c:v>91.41</c:v>
                </c:pt>
                <c:pt idx="574">
                  <c:v>97.41</c:v>
                </c:pt>
                <c:pt idx="575">
                  <c:v>102.87</c:v>
                </c:pt>
                <c:pt idx="576">
                  <c:v>103.01</c:v>
                </c:pt>
                <c:pt idx="577">
                  <c:v>105.7</c:v>
                </c:pt>
                <c:pt idx="578">
                  <c:v>111.73</c:v>
                </c:pt>
                <c:pt idx="579">
                  <c:v>111.17</c:v>
                </c:pt>
                <c:pt idx="580">
                  <c:v>107.08</c:v>
                </c:pt>
                <c:pt idx="581">
                  <c:v>111.13</c:v>
                </c:pt>
                <c:pt idx="582">
                  <c:v>141.69999999999999</c:v>
                </c:pt>
                <c:pt idx="583">
                  <c:v>132.86000000000001</c:v>
                </c:pt>
                <c:pt idx="628" formatCode="General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3B5-4FB2-8B01-147A07633578}"/>
            </c:ext>
          </c:extLst>
        </c:ser>
        <c:ser>
          <c:idx val="1"/>
          <c:order val="1"/>
          <c:tx>
            <c:v>Crude Oil Price (Brent)</c:v>
          </c:tx>
          <c:spPr>
            <a:ln w="38100">
              <a:solidFill>
                <a:srgbClr val="F04632"/>
              </a:solidFill>
            </a:ln>
          </c:spPr>
          <c:marker>
            <c:symbol val="none"/>
          </c:marker>
          <c:cat>
            <c:numRef>
              <c:f>'LC JFP'!$B$469:$B$1095</c:f>
              <c:numCache>
                <c:formatCode>ddd\,\ d\ mmm\ yy</c:formatCode>
                <c:ptCount val="627"/>
                <c:pt idx="0">
                  <c:v>40550</c:v>
                </c:pt>
                <c:pt idx="1">
                  <c:v>40557</c:v>
                </c:pt>
                <c:pt idx="2">
                  <c:v>40564</c:v>
                </c:pt>
                <c:pt idx="3">
                  <c:v>40571</c:v>
                </c:pt>
                <c:pt idx="4">
                  <c:v>40578</c:v>
                </c:pt>
                <c:pt idx="5">
                  <c:v>40585</c:v>
                </c:pt>
                <c:pt idx="6">
                  <c:v>40592</c:v>
                </c:pt>
                <c:pt idx="7">
                  <c:v>40599</c:v>
                </c:pt>
                <c:pt idx="8">
                  <c:v>40606</c:v>
                </c:pt>
                <c:pt idx="9">
                  <c:v>40613</c:v>
                </c:pt>
                <c:pt idx="10">
                  <c:v>40620</c:v>
                </c:pt>
                <c:pt idx="11">
                  <c:v>40627</c:v>
                </c:pt>
                <c:pt idx="12">
                  <c:v>40634</c:v>
                </c:pt>
                <c:pt idx="13">
                  <c:v>40641</c:v>
                </c:pt>
                <c:pt idx="14">
                  <c:v>40648</c:v>
                </c:pt>
                <c:pt idx="15">
                  <c:v>40655</c:v>
                </c:pt>
                <c:pt idx="16">
                  <c:v>40662</c:v>
                </c:pt>
                <c:pt idx="17">
                  <c:v>40669</c:v>
                </c:pt>
                <c:pt idx="18">
                  <c:v>40676</c:v>
                </c:pt>
                <c:pt idx="19">
                  <c:v>40683</c:v>
                </c:pt>
                <c:pt idx="20">
                  <c:v>40690</c:v>
                </c:pt>
                <c:pt idx="21">
                  <c:v>40697</c:v>
                </c:pt>
                <c:pt idx="22">
                  <c:v>40704</c:v>
                </c:pt>
                <c:pt idx="23">
                  <c:v>40711</c:v>
                </c:pt>
                <c:pt idx="24">
                  <c:v>40718</c:v>
                </c:pt>
                <c:pt idx="25">
                  <c:v>40725</c:v>
                </c:pt>
                <c:pt idx="26">
                  <c:v>40732</c:v>
                </c:pt>
                <c:pt idx="27">
                  <c:v>40739</c:v>
                </c:pt>
                <c:pt idx="28">
                  <c:v>40746</c:v>
                </c:pt>
                <c:pt idx="29">
                  <c:v>40753</c:v>
                </c:pt>
                <c:pt idx="30">
                  <c:v>40760</c:v>
                </c:pt>
                <c:pt idx="31">
                  <c:v>40767</c:v>
                </c:pt>
                <c:pt idx="32">
                  <c:v>40774</c:v>
                </c:pt>
                <c:pt idx="33">
                  <c:v>40781</c:v>
                </c:pt>
                <c:pt idx="34">
                  <c:v>40788</c:v>
                </c:pt>
                <c:pt idx="35">
                  <c:v>40795</c:v>
                </c:pt>
                <c:pt idx="36">
                  <c:v>40802</c:v>
                </c:pt>
                <c:pt idx="37">
                  <c:v>40809</c:v>
                </c:pt>
                <c:pt idx="38">
                  <c:v>40816</c:v>
                </c:pt>
                <c:pt idx="39">
                  <c:v>40823</c:v>
                </c:pt>
                <c:pt idx="40">
                  <c:v>40830</c:v>
                </c:pt>
                <c:pt idx="41">
                  <c:v>40837</c:v>
                </c:pt>
                <c:pt idx="42">
                  <c:v>40844</c:v>
                </c:pt>
                <c:pt idx="43">
                  <c:v>40851</c:v>
                </c:pt>
                <c:pt idx="44">
                  <c:v>40858</c:v>
                </c:pt>
                <c:pt idx="45">
                  <c:v>40865</c:v>
                </c:pt>
                <c:pt idx="46">
                  <c:v>40872</c:v>
                </c:pt>
                <c:pt idx="47">
                  <c:v>40879</c:v>
                </c:pt>
                <c:pt idx="48">
                  <c:v>40886</c:v>
                </c:pt>
                <c:pt idx="49">
                  <c:v>40893</c:v>
                </c:pt>
                <c:pt idx="50">
                  <c:v>40900</c:v>
                </c:pt>
                <c:pt idx="51">
                  <c:v>40907</c:v>
                </c:pt>
                <c:pt idx="52">
                  <c:v>40914</c:v>
                </c:pt>
                <c:pt idx="53">
                  <c:v>40921</c:v>
                </c:pt>
                <c:pt idx="54">
                  <c:v>40928</c:v>
                </c:pt>
                <c:pt idx="55">
                  <c:v>40935</c:v>
                </c:pt>
                <c:pt idx="56">
                  <c:v>40942</c:v>
                </c:pt>
                <c:pt idx="57">
                  <c:v>40949</c:v>
                </c:pt>
                <c:pt idx="58">
                  <c:v>40956</c:v>
                </c:pt>
                <c:pt idx="59">
                  <c:v>40963</c:v>
                </c:pt>
                <c:pt idx="60">
                  <c:v>40970</c:v>
                </c:pt>
                <c:pt idx="61">
                  <c:v>40977</c:v>
                </c:pt>
                <c:pt idx="62">
                  <c:v>40984</c:v>
                </c:pt>
                <c:pt idx="63">
                  <c:v>40991</c:v>
                </c:pt>
                <c:pt idx="64">
                  <c:v>40998</c:v>
                </c:pt>
                <c:pt idx="65">
                  <c:v>41005</c:v>
                </c:pt>
                <c:pt idx="66">
                  <c:v>41012</c:v>
                </c:pt>
                <c:pt idx="67">
                  <c:v>41019</c:v>
                </c:pt>
                <c:pt idx="68">
                  <c:v>41026</c:v>
                </c:pt>
                <c:pt idx="69">
                  <c:v>41033</c:v>
                </c:pt>
                <c:pt idx="70">
                  <c:v>41040</c:v>
                </c:pt>
                <c:pt idx="71">
                  <c:v>41047</c:v>
                </c:pt>
                <c:pt idx="72">
                  <c:v>41054</c:v>
                </c:pt>
                <c:pt idx="73">
                  <c:v>41061</c:v>
                </c:pt>
                <c:pt idx="74">
                  <c:v>41068</c:v>
                </c:pt>
                <c:pt idx="75">
                  <c:v>41075</c:v>
                </c:pt>
                <c:pt idx="76">
                  <c:v>41082</c:v>
                </c:pt>
                <c:pt idx="77">
                  <c:v>41089</c:v>
                </c:pt>
                <c:pt idx="78">
                  <c:v>41096</c:v>
                </c:pt>
                <c:pt idx="79">
                  <c:v>41103</c:v>
                </c:pt>
                <c:pt idx="80">
                  <c:v>41110</c:v>
                </c:pt>
                <c:pt idx="81">
                  <c:v>41117</c:v>
                </c:pt>
                <c:pt idx="82">
                  <c:v>41124</c:v>
                </c:pt>
                <c:pt idx="83">
                  <c:v>41131</c:v>
                </c:pt>
                <c:pt idx="84">
                  <c:v>41138</c:v>
                </c:pt>
                <c:pt idx="85">
                  <c:v>41145</c:v>
                </c:pt>
                <c:pt idx="86">
                  <c:v>41152</c:v>
                </c:pt>
                <c:pt idx="87">
                  <c:v>41159</c:v>
                </c:pt>
                <c:pt idx="88">
                  <c:v>41166</c:v>
                </c:pt>
                <c:pt idx="89">
                  <c:v>41173</c:v>
                </c:pt>
                <c:pt idx="90">
                  <c:v>41180</c:v>
                </c:pt>
                <c:pt idx="91">
                  <c:v>41187</c:v>
                </c:pt>
                <c:pt idx="92">
                  <c:v>41194</c:v>
                </c:pt>
                <c:pt idx="93">
                  <c:v>41201</c:v>
                </c:pt>
                <c:pt idx="94">
                  <c:v>41208</c:v>
                </c:pt>
                <c:pt idx="95">
                  <c:v>41215</c:v>
                </c:pt>
                <c:pt idx="96">
                  <c:v>41222</c:v>
                </c:pt>
                <c:pt idx="97">
                  <c:v>41229</c:v>
                </c:pt>
                <c:pt idx="98">
                  <c:v>41236</c:v>
                </c:pt>
                <c:pt idx="99">
                  <c:v>41243</c:v>
                </c:pt>
                <c:pt idx="100">
                  <c:v>41250</c:v>
                </c:pt>
                <c:pt idx="101">
                  <c:v>41257</c:v>
                </c:pt>
                <c:pt idx="102">
                  <c:v>41264</c:v>
                </c:pt>
                <c:pt idx="103">
                  <c:v>41271</c:v>
                </c:pt>
                <c:pt idx="104">
                  <c:v>41278</c:v>
                </c:pt>
                <c:pt idx="105">
                  <c:v>41285</c:v>
                </c:pt>
                <c:pt idx="106">
                  <c:v>41292</c:v>
                </c:pt>
                <c:pt idx="107">
                  <c:v>41299</c:v>
                </c:pt>
                <c:pt idx="108">
                  <c:v>41306</c:v>
                </c:pt>
                <c:pt idx="109">
                  <c:v>41313</c:v>
                </c:pt>
                <c:pt idx="110">
                  <c:v>41320</c:v>
                </c:pt>
                <c:pt idx="111">
                  <c:v>41327</c:v>
                </c:pt>
                <c:pt idx="112">
                  <c:v>41334</c:v>
                </c:pt>
                <c:pt idx="113">
                  <c:v>41341</c:v>
                </c:pt>
                <c:pt idx="114">
                  <c:v>41348</c:v>
                </c:pt>
                <c:pt idx="115">
                  <c:v>41355</c:v>
                </c:pt>
                <c:pt idx="116">
                  <c:v>41362</c:v>
                </c:pt>
                <c:pt idx="117">
                  <c:v>41369</c:v>
                </c:pt>
                <c:pt idx="118">
                  <c:v>41376</c:v>
                </c:pt>
                <c:pt idx="119">
                  <c:v>41383</c:v>
                </c:pt>
                <c:pt idx="120">
                  <c:v>41390</c:v>
                </c:pt>
                <c:pt idx="121">
                  <c:v>41397</c:v>
                </c:pt>
                <c:pt idx="122">
                  <c:v>41404</c:v>
                </c:pt>
                <c:pt idx="123">
                  <c:v>41411</c:v>
                </c:pt>
                <c:pt idx="124">
                  <c:v>41418</c:v>
                </c:pt>
                <c:pt idx="125">
                  <c:v>41425</c:v>
                </c:pt>
                <c:pt idx="126">
                  <c:v>41432</c:v>
                </c:pt>
                <c:pt idx="127">
                  <c:v>41439</c:v>
                </c:pt>
                <c:pt idx="128">
                  <c:v>41446</c:v>
                </c:pt>
                <c:pt idx="129">
                  <c:v>41453</c:v>
                </c:pt>
                <c:pt idx="130">
                  <c:v>41460</c:v>
                </c:pt>
                <c:pt idx="131">
                  <c:v>41467</c:v>
                </c:pt>
                <c:pt idx="132">
                  <c:v>41474</c:v>
                </c:pt>
                <c:pt idx="133">
                  <c:v>41481</c:v>
                </c:pt>
                <c:pt idx="134">
                  <c:v>41488</c:v>
                </c:pt>
                <c:pt idx="135">
                  <c:v>41495</c:v>
                </c:pt>
                <c:pt idx="136">
                  <c:v>41502</c:v>
                </c:pt>
                <c:pt idx="137">
                  <c:v>41509</c:v>
                </c:pt>
                <c:pt idx="138">
                  <c:v>41516</c:v>
                </c:pt>
                <c:pt idx="139">
                  <c:v>41523</c:v>
                </c:pt>
                <c:pt idx="140">
                  <c:v>41530</c:v>
                </c:pt>
                <c:pt idx="141">
                  <c:v>41537</c:v>
                </c:pt>
                <c:pt idx="142">
                  <c:v>41544</c:v>
                </c:pt>
                <c:pt idx="143">
                  <c:v>41551</c:v>
                </c:pt>
                <c:pt idx="144">
                  <c:v>41558</c:v>
                </c:pt>
                <c:pt idx="145">
                  <c:v>41565</c:v>
                </c:pt>
                <c:pt idx="146">
                  <c:v>41572</c:v>
                </c:pt>
                <c:pt idx="147">
                  <c:v>41579</c:v>
                </c:pt>
                <c:pt idx="148">
                  <c:v>41586</c:v>
                </c:pt>
                <c:pt idx="149">
                  <c:v>41593</c:v>
                </c:pt>
                <c:pt idx="150">
                  <c:v>41600</c:v>
                </c:pt>
                <c:pt idx="151">
                  <c:v>41607</c:v>
                </c:pt>
                <c:pt idx="152">
                  <c:v>41614</c:v>
                </c:pt>
                <c:pt idx="153">
                  <c:v>41621</c:v>
                </c:pt>
                <c:pt idx="154">
                  <c:v>41628</c:v>
                </c:pt>
                <c:pt idx="155">
                  <c:v>41635</c:v>
                </c:pt>
                <c:pt idx="156">
                  <c:v>41642</c:v>
                </c:pt>
                <c:pt idx="157">
                  <c:v>41649</c:v>
                </c:pt>
                <c:pt idx="158">
                  <c:v>41656</c:v>
                </c:pt>
                <c:pt idx="159">
                  <c:v>41663</c:v>
                </c:pt>
                <c:pt idx="160">
                  <c:v>41670</c:v>
                </c:pt>
                <c:pt idx="161">
                  <c:v>41677</c:v>
                </c:pt>
                <c:pt idx="162">
                  <c:v>41684</c:v>
                </c:pt>
                <c:pt idx="163">
                  <c:v>41691</c:v>
                </c:pt>
                <c:pt idx="164">
                  <c:v>41698</c:v>
                </c:pt>
                <c:pt idx="165">
                  <c:v>41705</c:v>
                </c:pt>
                <c:pt idx="166">
                  <c:v>41712</c:v>
                </c:pt>
                <c:pt idx="167">
                  <c:v>41719</c:v>
                </c:pt>
                <c:pt idx="168">
                  <c:v>41726</c:v>
                </c:pt>
                <c:pt idx="169">
                  <c:v>41733</c:v>
                </c:pt>
                <c:pt idx="170">
                  <c:v>41740</c:v>
                </c:pt>
                <c:pt idx="171">
                  <c:v>41747</c:v>
                </c:pt>
                <c:pt idx="172">
                  <c:v>41754</c:v>
                </c:pt>
                <c:pt idx="173">
                  <c:v>41761</c:v>
                </c:pt>
                <c:pt idx="174">
                  <c:v>41768</c:v>
                </c:pt>
                <c:pt idx="175">
                  <c:v>41775</c:v>
                </c:pt>
                <c:pt idx="176">
                  <c:v>41782</c:v>
                </c:pt>
                <c:pt idx="177">
                  <c:v>41789</c:v>
                </c:pt>
                <c:pt idx="178">
                  <c:v>41796</c:v>
                </c:pt>
                <c:pt idx="179">
                  <c:v>41803</c:v>
                </c:pt>
                <c:pt idx="180">
                  <c:v>41810</c:v>
                </c:pt>
                <c:pt idx="181">
                  <c:v>41817</c:v>
                </c:pt>
                <c:pt idx="182">
                  <c:v>41824</c:v>
                </c:pt>
                <c:pt idx="183">
                  <c:v>41831</c:v>
                </c:pt>
                <c:pt idx="184">
                  <c:v>41838</c:v>
                </c:pt>
                <c:pt idx="185">
                  <c:v>41845</c:v>
                </c:pt>
                <c:pt idx="186">
                  <c:v>41852</c:v>
                </c:pt>
                <c:pt idx="187">
                  <c:v>41859</c:v>
                </c:pt>
                <c:pt idx="188">
                  <c:v>41866</c:v>
                </c:pt>
                <c:pt idx="189">
                  <c:v>41873</c:v>
                </c:pt>
                <c:pt idx="190">
                  <c:v>41880</c:v>
                </c:pt>
                <c:pt idx="191">
                  <c:v>41887</c:v>
                </c:pt>
                <c:pt idx="192">
                  <c:v>41894</c:v>
                </c:pt>
                <c:pt idx="193">
                  <c:v>41901</c:v>
                </c:pt>
                <c:pt idx="194">
                  <c:v>41908</c:v>
                </c:pt>
                <c:pt idx="195">
                  <c:v>41915</c:v>
                </c:pt>
                <c:pt idx="196">
                  <c:v>41922</c:v>
                </c:pt>
                <c:pt idx="197">
                  <c:v>41929</c:v>
                </c:pt>
                <c:pt idx="198">
                  <c:v>41936</c:v>
                </c:pt>
                <c:pt idx="199">
                  <c:v>41943</c:v>
                </c:pt>
                <c:pt idx="200">
                  <c:v>41950</c:v>
                </c:pt>
                <c:pt idx="201">
                  <c:v>41957</c:v>
                </c:pt>
                <c:pt idx="202">
                  <c:v>41964</c:v>
                </c:pt>
                <c:pt idx="203">
                  <c:v>41971</c:v>
                </c:pt>
                <c:pt idx="204">
                  <c:v>41978</c:v>
                </c:pt>
                <c:pt idx="205">
                  <c:v>41985</c:v>
                </c:pt>
                <c:pt idx="206">
                  <c:v>41992</c:v>
                </c:pt>
                <c:pt idx="207">
                  <c:v>41999</c:v>
                </c:pt>
                <c:pt idx="208">
                  <c:v>42006</c:v>
                </c:pt>
                <c:pt idx="209">
                  <c:v>42013</c:v>
                </c:pt>
                <c:pt idx="210">
                  <c:v>42020</c:v>
                </c:pt>
                <c:pt idx="211">
                  <c:v>42027</c:v>
                </c:pt>
                <c:pt idx="212">
                  <c:v>42034</c:v>
                </c:pt>
                <c:pt idx="213">
                  <c:v>42041</c:v>
                </c:pt>
                <c:pt idx="214">
                  <c:v>42048</c:v>
                </c:pt>
                <c:pt idx="215">
                  <c:v>42055</c:v>
                </c:pt>
                <c:pt idx="216">
                  <c:v>42062</c:v>
                </c:pt>
                <c:pt idx="217">
                  <c:v>42069</c:v>
                </c:pt>
                <c:pt idx="218">
                  <c:v>42076</c:v>
                </c:pt>
                <c:pt idx="219">
                  <c:v>42083</c:v>
                </c:pt>
                <c:pt idx="220">
                  <c:v>42090</c:v>
                </c:pt>
                <c:pt idx="221">
                  <c:v>42097</c:v>
                </c:pt>
                <c:pt idx="222">
                  <c:v>42104</c:v>
                </c:pt>
                <c:pt idx="223">
                  <c:v>42111</c:v>
                </c:pt>
                <c:pt idx="224">
                  <c:v>42118</c:v>
                </c:pt>
                <c:pt idx="225">
                  <c:v>42125</c:v>
                </c:pt>
                <c:pt idx="226">
                  <c:v>42132</c:v>
                </c:pt>
                <c:pt idx="227">
                  <c:v>42139</c:v>
                </c:pt>
                <c:pt idx="228">
                  <c:v>42146</c:v>
                </c:pt>
                <c:pt idx="229">
                  <c:v>42153</c:v>
                </c:pt>
                <c:pt idx="230">
                  <c:v>42160</c:v>
                </c:pt>
                <c:pt idx="231">
                  <c:v>42167</c:v>
                </c:pt>
                <c:pt idx="232">
                  <c:v>42174</c:v>
                </c:pt>
                <c:pt idx="233">
                  <c:v>42181</c:v>
                </c:pt>
                <c:pt idx="234">
                  <c:v>42188</c:v>
                </c:pt>
                <c:pt idx="235">
                  <c:v>42195</c:v>
                </c:pt>
                <c:pt idx="236">
                  <c:v>42202</c:v>
                </c:pt>
                <c:pt idx="237">
                  <c:v>42209</c:v>
                </c:pt>
                <c:pt idx="238">
                  <c:v>42216</c:v>
                </c:pt>
                <c:pt idx="239">
                  <c:v>42223</c:v>
                </c:pt>
                <c:pt idx="240">
                  <c:v>42230</c:v>
                </c:pt>
                <c:pt idx="241">
                  <c:v>42237</c:v>
                </c:pt>
                <c:pt idx="242">
                  <c:v>42244</c:v>
                </c:pt>
                <c:pt idx="243">
                  <c:v>42251</c:v>
                </c:pt>
                <c:pt idx="244">
                  <c:v>42258</c:v>
                </c:pt>
                <c:pt idx="245">
                  <c:v>42265</c:v>
                </c:pt>
                <c:pt idx="246">
                  <c:v>42272</c:v>
                </c:pt>
                <c:pt idx="247">
                  <c:v>42279</c:v>
                </c:pt>
                <c:pt idx="248">
                  <c:v>42286</c:v>
                </c:pt>
                <c:pt idx="249">
                  <c:v>42293</c:v>
                </c:pt>
                <c:pt idx="250">
                  <c:v>42300</c:v>
                </c:pt>
                <c:pt idx="251">
                  <c:v>42307</c:v>
                </c:pt>
                <c:pt idx="252">
                  <c:v>42314</c:v>
                </c:pt>
                <c:pt idx="253">
                  <c:v>42321</c:v>
                </c:pt>
                <c:pt idx="254">
                  <c:v>42328</c:v>
                </c:pt>
                <c:pt idx="255">
                  <c:v>42335</c:v>
                </c:pt>
                <c:pt idx="256">
                  <c:v>42342</c:v>
                </c:pt>
                <c:pt idx="257">
                  <c:v>42349</c:v>
                </c:pt>
                <c:pt idx="258">
                  <c:v>42356</c:v>
                </c:pt>
                <c:pt idx="259">
                  <c:v>42363</c:v>
                </c:pt>
                <c:pt idx="260">
                  <c:v>42370</c:v>
                </c:pt>
                <c:pt idx="261">
                  <c:v>42377</c:v>
                </c:pt>
                <c:pt idx="262">
                  <c:v>42384</c:v>
                </c:pt>
                <c:pt idx="263">
                  <c:v>42391</c:v>
                </c:pt>
                <c:pt idx="264">
                  <c:v>42398</c:v>
                </c:pt>
                <c:pt idx="265">
                  <c:v>42405</c:v>
                </c:pt>
                <c:pt idx="266">
                  <c:v>42412</c:v>
                </c:pt>
                <c:pt idx="267">
                  <c:v>42419</c:v>
                </c:pt>
                <c:pt idx="268">
                  <c:v>42426</c:v>
                </c:pt>
                <c:pt idx="269">
                  <c:v>42433</c:v>
                </c:pt>
                <c:pt idx="270">
                  <c:v>42440</c:v>
                </c:pt>
                <c:pt idx="271">
                  <c:v>42447</c:v>
                </c:pt>
                <c:pt idx="272">
                  <c:v>42454</c:v>
                </c:pt>
                <c:pt idx="273">
                  <c:v>42461</c:v>
                </c:pt>
                <c:pt idx="274">
                  <c:v>42468</c:v>
                </c:pt>
                <c:pt idx="275">
                  <c:v>42475</c:v>
                </c:pt>
                <c:pt idx="276">
                  <c:v>42482</c:v>
                </c:pt>
                <c:pt idx="277">
                  <c:v>42489</c:v>
                </c:pt>
                <c:pt idx="278">
                  <c:v>42496</c:v>
                </c:pt>
                <c:pt idx="279">
                  <c:v>42503</c:v>
                </c:pt>
                <c:pt idx="280">
                  <c:v>42510</c:v>
                </c:pt>
                <c:pt idx="281">
                  <c:v>42517</c:v>
                </c:pt>
                <c:pt idx="282">
                  <c:v>42524</c:v>
                </c:pt>
                <c:pt idx="283">
                  <c:v>42531</c:v>
                </c:pt>
                <c:pt idx="284">
                  <c:v>42538</c:v>
                </c:pt>
                <c:pt idx="285">
                  <c:v>42545</c:v>
                </c:pt>
                <c:pt idx="286">
                  <c:v>42552</c:v>
                </c:pt>
                <c:pt idx="287">
                  <c:v>42559</c:v>
                </c:pt>
                <c:pt idx="288">
                  <c:v>42566</c:v>
                </c:pt>
                <c:pt idx="289">
                  <c:v>42573</c:v>
                </c:pt>
                <c:pt idx="290">
                  <c:v>42580</c:v>
                </c:pt>
                <c:pt idx="291">
                  <c:v>42587</c:v>
                </c:pt>
                <c:pt idx="292">
                  <c:v>42594</c:v>
                </c:pt>
                <c:pt idx="293">
                  <c:v>42601</c:v>
                </c:pt>
                <c:pt idx="294">
                  <c:v>42608</c:v>
                </c:pt>
                <c:pt idx="295">
                  <c:v>42615</c:v>
                </c:pt>
                <c:pt idx="296">
                  <c:v>42622</c:v>
                </c:pt>
                <c:pt idx="297">
                  <c:v>42629</c:v>
                </c:pt>
                <c:pt idx="298">
                  <c:v>42636</c:v>
                </c:pt>
                <c:pt idx="299">
                  <c:v>42643</c:v>
                </c:pt>
                <c:pt idx="300">
                  <c:v>42650</c:v>
                </c:pt>
                <c:pt idx="301">
                  <c:v>42657</c:v>
                </c:pt>
                <c:pt idx="302">
                  <c:v>42664</c:v>
                </c:pt>
                <c:pt idx="303">
                  <c:v>42671</c:v>
                </c:pt>
                <c:pt idx="304">
                  <c:v>42678</c:v>
                </c:pt>
                <c:pt idx="305">
                  <c:v>42685</c:v>
                </c:pt>
                <c:pt idx="306">
                  <c:v>42692</c:v>
                </c:pt>
                <c:pt idx="307">
                  <c:v>42699</c:v>
                </c:pt>
                <c:pt idx="308">
                  <c:v>42706</c:v>
                </c:pt>
                <c:pt idx="309">
                  <c:v>42713</c:v>
                </c:pt>
                <c:pt idx="310">
                  <c:v>42720</c:v>
                </c:pt>
                <c:pt idx="311">
                  <c:v>42727</c:v>
                </c:pt>
                <c:pt idx="312">
                  <c:v>42734</c:v>
                </c:pt>
                <c:pt idx="313">
                  <c:v>42741</c:v>
                </c:pt>
                <c:pt idx="314">
                  <c:v>42748</c:v>
                </c:pt>
                <c:pt idx="315">
                  <c:v>42755</c:v>
                </c:pt>
                <c:pt idx="316">
                  <c:v>42762</c:v>
                </c:pt>
                <c:pt idx="317">
                  <c:v>42769</c:v>
                </c:pt>
                <c:pt idx="318">
                  <c:v>42776</c:v>
                </c:pt>
                <c:pt idx="319">
                  <c:v>42783</c:v>
                </c:pt>
                <c:pt idx="320">
                  <c:v>42790</c:v>
                </c:pt>
                <c:pt idx="321">
                  <c:v>42797</c:v>
                </c:pt>
                <c:pt idx="322">
                  <c:v>42804</c:v>
                </c:pt>
                <c:pt idx="323">
                  <c:v>42811</c:v>
                </c:pt>
                <c:pt idx="324">
                  <c:v>42818</c:v>
                </c:pt>
                <c:pt idx="325">
                  <c:v>42825</c:v>
                </c:pt>
                <c:pt idx="326">
                  <c:v>42832</c:v>
                </c:pt>
                <c:pt idx="327">
                  <c:v>42839</c:v>
                </c:pt>
                <c:pt idx="328">
                  <c:v>42846</c:v>
                </c:pt>
                <c:pt idx="329">
                  <c:v>42853</c:v>
                </c:pt>
                <c:pt idx="330">
                  <c:v>42860</c:v>
                </c:pt>
                <c:pt idx="331">
                  <c:v>42867</c:v>
                </c:pt>
                <c:pt idx="332">
                  <c:v>42874</c:v>
                </c:pt>
                <c:pt idx="333">
                  <c:v>42881</c:v>
                </c:pt>
                <c:pt idx="334">
                  <c:v>42888</c:v>
                </c:pt>
                <c:pt idx="335">
                  <c:v>42895</c:v>
                </c:pt>
                <c:pt idx="336">
                  <c:v>42902</c:v>
                </c:pt>
                <c:pt idx="337">
                  <c:v>42909</c:v>
                </c:pt>
                <c:pt idx="338">
                  <c:v>42916</c:v>
                </c:pt>
                <c:pt idx="339">
                  <c:v>42923</c:v>
                </c:pt>
                <c:pt idx="340">
                  <c:v>42930</c:v>
                </c:pt>
                <c:pt idx="341">
                  <c:v>42937</c:v>
                </c:pt>
                <c:pt idx="342">
                  <c:v>42944</c:v>
                </c:pt>
                <c:pt idx="343">
                  <c:v>42951</c:v>
                </c:pt>
                <c:pt idx="344">
                  <c:v>42958</c:v>
                </c:pt>
                <c:pt idx="345">
                  <c:v>42965</c:v>
                </c:pt>
                <c:pt idx="346">
                  <c:v>42972</c:v>
                </c:pt>
                <c:pt idx="347">
                  <c:v>42979</c:v>
                </c:pt>
                <c:pt idx="348">
                  <c:v>42986</c:v>
                </c:pt>
                <c:pt idx="349">
                  <c:v>42993</c:v>
                </c:pt>
                <c:pt idx="350">
                  <c:v>43000</c:v>
                </c:pt>
                <c:pt idx="351">
                  <c:v>43007</c:v>
                </c:pt>
                <c:pt idx="352">
                  <c:v>43014</c:v>
                </c:pt>
                <c:pt idx="353">
                  <c:v>43021</c:v>
                </c:pt>
                <c:pt idx="354">
                  <c:v>43028</c:v>
                </c:pt>
                <c:pt idx="355">
                  <c:v>43035</c:v>
                </c:pt>
                <c:pt idx="356">
                  <c:v>43042</c:v>
                </c:pt>
                <c:pt idx="357">
                  <c:v>43049</c:v>
                </c:pt>
                <c:pt idx="358">
                  <c:v>43056</c:v>
                </c:pt>
                <c:pt idx="359">
                  <c:v>43063</c:v>
                </c:pt>
                <c:pt idx="360">
                  <c:v>43070</c:v>
                </c:pt>
                <c:pt idx="361">
                  <c:v>43077</c:v>
                </c:pt>
                <c:pt idx="362">
                  <c:v>43084</c:v>
                </c:pt>
                <c:pt idx="363">
                  <c:v>43091</c:v>
                </c:pt>
                <c:pt idx="364">
                  <c:v>43098</c:v>
                </c:pt>
                <c:pt idx="365">
                  <c:v>43105</c:v>
                </c:pt>
                <c:pt idx="366">
                  <c:v>43112</c:v>
                </c:pt>
                <c:pt idx="367">
                  <c:v>43119</c:v>
                </c:pt>
                <c:pt idx="368">
                  <c:v>43126</c:v>
                </c:pt>
                <c:pt idx="369">
                  <c:v>43133</c:v>
                </c:pt>
                <c:pt idx="370">
                  <c:v>43140</c:v>
                </c:pt>
                <c:pt idx="371">
                  <c:v>43147</c:v>
                </c:pt>
                <c:pt idx="372">
                  <c:v>43154</c:v>
                </c:pt>
                <c:pt idx="373">
                  <c:v>43161</c:v>
                </c:pt>
                <c:pt idx="374">
                  <c:v>43168</c:v>
                </c:pt>
                <c:pt idx="375">
                  <c:v>43175</c:v>
                </c:pt>
                <c:pt idx="376">
                  <c:v>43182</c:v>
                </c:pt>
                <c:pt idx="377">
                  <c:v>43189</c:v>
                </c:pt>
                <c:pt idx="378">
                  <c:v>43196</c:v>
                </c:pt>
                <c:pt idx="379">
                  <c:v>43203</c:v>
                </c:pt>
                <c:pt idx="380">
                  <c:v>43210</c:v>
                </c:pt>
                <c:pt idx="381">
                  <c:v>43217</c:v>
                </c:pt>
                <c:pt idx="382">
                  <c:v>43224</c:v>
                </c:pt>
                <c:pt idx="383">
                  <c:v>43231</c:v>
                </c:pt>
                <c:pt idx="384">
                  <c:v>43238</c:v>
                </c:pt>
                <c:pt idx="385">
                  <c:v>43245</c:v>
                </c:pt>
                <c:pt idx="386">
                  <c:v>43252</c:v>
                </c:pt>
                <c:pt idx="387">
                  <c:v>43259</c:v>
                </c:pt>
                <c:pt idx="388">
                  <c:v>43266</c:v>
                </c:pt>
                <c:pt idx="389">
                  <c:v>43273</c:v>
                </c:pt>
                <c:pt idx="390">
                  <c:v>43280</c:v>
                </c:pt>
                <c:pt idx="391">
                  <c:v>43287</c:v>
                </c:pt>
                <c:pt idx="392">
                  <c:v>43294</c:v>
                </c:pt>
                <c:pt idx="393">
                  <c:v>43301</c:v>
                </c:pt>
                <c:pt idx="394">
                  <c:v>43308</c:v>
                </c:pt>
                <c:pt idx="395">
                  <c:v>43315</c:v>
                </c:pt>
                <c:pt idx="396">
                  <c:v>43322</c:v>
                </c:pt>
                <c:pt idx="397">
                  <c:v>43329</c:v>
                </c:pt>
                <c:pt idx="398">
                  <c:v>43336</c:v>
                </c:pt>
                <c:pt idx="399">
                  <c:v>43343</c:v>
                </c:pt>
                <c:pt idx="400">
                  <c:v>43350</c:v>
                </c:pt>
                <c:pt idx="401">
                  <c:v>43357</c:v>
                </c:pt>
                <c:pt idx="402">
                  <c:v>43364</c:v>
                </c:pt>
                <c:pt idx="403">
                  <c:v>43371</c:v>
                </c:pt>
                <c:pt idx="404">
                  <c:v>43378</c:v>
                </c:pt>
                <c:pt idx="405">
                  <c:v>43385</c:v>
                </c:pt>
                <c:pt idx="406">
                  <c:v>43392</c:v>
                </c:pt>
                <c:pt idx="407">
                  <c:v>43399</c:v>
                </c:pt>
                <c:pt idx="408">
                  <c:v>43406</c:v>
                </c:pt>
                <c:pt idx="409">
                  <c:v>43413</c:v>
                </c:pt>
                <c:pt idx="410">
                  <c:v>43420</c:v>
                </c:pt>
                <c:pt idx="411">
                  <c:v>43427</c:v>
                </c:pt>
                <c:pt idx="412">
                  <c:v>43434</c:v>
                </c:pt>
                <c:pt idx="413">
                  <c:v>43441</c:v>
                </c:pt>
                <c:pt idx="414">
                  <c:v>43448</c:v>
                </c:pt>
                <c:pt idx="415">
                  <c:v>43455</c:v>
                </c:pt>
                <c:pt idx="416">
                  <c:v>43462</c:v>
                </c:pt>
                <c:pt idx="417">
                  <c:v>43469</c:v>
                </c:pt>
                <c:pt idx="418">
                  <c:v>43476</c:v>
                </c:pt>
                <c:pt idx="419">
                  <c:v>43483</c:v>
                </c:pt>
                <c:pt idx="420">
                  <c:v>43490</c:v>
                </c:pt>
                <c:pt idx="421">
                  <c:v>43497</c:v>
                </c:pt>
                <c:pt idx="422">
                  <c:v>43504</c:v>
                </c:pt>
                <c:pt idx="423">
                  <c:v>43511</c:v>
                </c:pt>
                <c:pt idx="424">
                  <c:v>43518</c:v>
                </c:pt>
                <c:pt idx="425">
                  <c:v>43525</c:v>
                </c:pt>
                <c:pt idx="426">
                  <c:v>43532</c:v>
                </c:pt>
                <c:pt idx="427">
                  <c:v>43539</c:v>
                </c:pt>
                <c:pt idx="428">
                  <c:v>43546</c:v>
                </c:pt>
                <c:pt idx="429">
                  <c:v>43553</c:v>
                </c:pt>
                <c:pt idx="430">
                  <c:v>43560</c:v>
                </c:pt>
                <c:pt idx="431">
                  <c:v>43567</c:v>
                </c:pt>
                <c:pt idx="432">
                  <c:v>43573</c:v>
                </c:pt>
                <c:pt idx="433">
                  <c:v>43581</c:v>
                </c:pt>
                <c:pt idx="434">
                  <c:v>43588</c:v>
                </c:pt>
                <c:pt idx="435">
                  <c:v>43595</c:v>
                </c:pt>
                <c:pt idx="436">
                  <c:v>43602</c:v>
                </c:pt>
                <c:pt idx="437">
                  <c:v>43609</c:v>
                </c:pt>
                <c:pt idx="438">
                  <c:v>43616</c:v>
                </c:pt>
                <c:pt idx="439">
                  <c:v>43623</c:v>
                </c:pt>
                <c:pt idx="440">
                  <c:v>43630</c:v>
                </c:pt>
                <c:pt idx="441">
                  <c:v>43637</c:v>
                </c:pt>
                <c:pt idx="442">
                  <c:v>43644</c:v>
                </c:pt>
                <c:pt idx="443">
                  <c:v>43651</c:v>
                </c:pt>
                <c:pt idx="444">
                  <c:v>43658</c:v>
                </c:pt>
                <c:pt idx="445">
                  <c:v>43665</c:v>
                </c:pt>
                <c:pt idx="446">
                  <c:v>43672</c:v>
                </c:pt>
                <c:pt idx="447">
                  <c:v>43679</c:v>
                </c:pt>
                <c:pt idx="448">
                  <c:v>43686</c:v>
                </c:pt>
                <c:pt idx="449">
                  <c:v>43693</c:v>
                </c:pt>
                <c:pt idx="450">
                  <c:v>43700</c:v>
                </c:pt>
                <c:pt idx="451">
                  <c:v>43707</c:v>
                </c:pt>
                <c:pt idx="452">
                  <c:v>43714</c:v>
                </c:pt>
                <c:pt idx="453">
                  <c:v>43721</c:v>
                </c:pt>
                <c:pt idx="454">
                  <c:v>43728</c:v>
                </c:pt>
                <c:pt idx="455">
                  <c:v>43735</c:v>
                </c:pt>
                <c:pt idx="456">
                  <c:v>43742</c:v>
                </c:pt>
                <c:pt idx="457">
                  <c:v>43749</c:v>
                </c:pt>
                <c:pt idx="458">
                  <c:v>43756</c:v>
                </c:pt>
                <c:pt idx="459">
                  <c:v>43763</c:v>
                </c:pt>
                <c:pt idx="460">
                  <c:v>43770</c:v>
                </c:pt>
                <c:pt idx="461">
                  <c:v>43777</c:v>
                </c:pt>
                <c:pt idx="462">
                  <c:v>43784</c:v>
                </c:pt>
                <c:pt idx="463">
                  <c:v>43791</c:v>
                </c:pt>
                <c:pt idx="464">
                  <c:v>43798</c:v>
                </c:pt>
                <c:pt idx="465">
                  <c:v>43805</c:v>
                </c:pt>
                <c:pt idx="466">
                  <c:v>43812</c:v>
                </c:pt>
                <c:pt idx="467">
                  <c:v>43819</c:v>
                </c:pt>
                <c:pt idx="468">
                  <c:v>43826</c:v>
                </c:pt>
                <c:pt idx="469">
                  <c:v>43833</c:v>
                </c:pt>
                <c:pt idx="470">
                  <c:v>43840</c:v>
                </c:pt>
                <c:pt idx="471">
                  <c:v>43847</c:v>
                </c:pt>
                <c:pt idx="472">
                  <c:v>43854</c:v>
                </c:pt>
                <c:pt idx="473">
                  <c:v>43861</c:v>
                </c:pt>
                <c:pt idx="474">
                  <c:v>43868</c:v>
                </c:pt>
                <c:pt idx="475">
                  <c:v>43875</c:v>
                </c:pt>
                <c:pt idx="476">
                  <c:v>43882</c:v>
                </c:pt>
                <c:pt idx="477">
                  <c:v>43889</c:v>
                </c:pt>
                <c:pt idx="478">
                  <c:v>43896</c:v>
                </c:pt>
                <c:pt idx="479">
                  <c:v>43903</c:v>
                </c:pt>
                <c:pt idx="480">
                  <c:v>43910</c:v>
                </c:pt>
                <c:pt idx="481">
                  <c:v>43917</c:v>
                </c:pt>
                <c:pt idx="482">
                  <c:v>43924</c:v>
                </c:pt>
                <c:pt idx="483">
                  <c:v>43931</c:v>
                </c:pt>
                <c:pt idx="484">
                  <c:v>43938</c:v>
                </c:pt>
                <c:pt idx="485">
                  <c:v>43945</c:v>
                </c:pt>
                <c:pt idx="486">
                  <c:v>43952</c:v>
                </c:pt>
                <c:pt idx="487">
                  <c:v>43959</c:v>
                </c:pt>
                <c:pt idx="488">
                  <c:v>43966</c:v>
                </c:pt>
                <c:pt idx="489">
                  <c:v>43973</c:v>
                </c:pt>
                <c:pt idx="490">
                  <c:v>43980</c:v>
                </c:pt>
                <c:pt idx="491">
                  <c:v>43987</c:v>
                </c:pt>
                <c:pt idx="492">
                  <c:v>43994</c:v>
                </c:pt>
                <c:pt idx="493">
                  <c:v>44001</c:v>
                </c:pt>
                <c:pt idx="494">
                  <c:v>44008</c:v>
                </c:pt>
                <c:pt idx="495">
                  <c:v>44015</c:v>
                </c:pt>
                <c:pt idx="496">
                  <c:v>44022</c:v>
                </c:pt>
                <c:pt idx="497">
                  <c:v>44029</c:v>
                </c:pt>
                <c:pt idx="498">
                  <c:v>44036</c:v>
                </c:pt>
                <c:pt idx="499">
                  <c:v>44043</c:v>
                </c:pt>
                <c:pt idx="500">
                  <c:v>44050</c:v>
                </c:pt>
                <c:pt idx="501">
                  <c:v>44057</c:v>
                </c:pt>
                <c:pt idx="502">
                  <c:v>44064</c:v>
                </c:pt>
                <c:pt idx="503">
                  <c:v>44071</c:v>
                </c:pt>
                <c:pt idx="504">
                  <c:v>44078</c:v>
                </c:pt>
                <c:pt idx="505">
                  <c:v>44085</c:v>
                </c:pt>
                <c:pt idx="506">
                  <c:v>44092</c:v>
                </c:pt>
                <c:pt idx="507">
                  <c:v>44099</c:v>
                </c:pt>
                <c:pt idx="508">
                  <c:v>44106</c:v>
                </c:pt>
                <c:pt idx="509">
                  <c:v>44113</c:v>
                </c:pt>
                <c:pt idx="510">
                  <c:v>44120</c:v>
                </c:pt>
                <c:pt idx="511">
                  <c:v>44127</c:v>
                </c:pt>
                <c:pt idx="512">
                  <c:v>44134</c:v>
                </c:pt>
                <c:pt idx="513">
                  <c:v>44141</c:v>
                </c:pt>
                <c:pt idx="514">
                  <c:v>44148</c:v>
                </c:pt>
                <c:pt idx="515">
                  <c:v>44155</c:v>
                </c:pt>
                <c:pt idx="516">
                  <c:v>44162</c:v>
                </c:pt>
                <c:pt idx="517">
                  <c:v>44169</c:v>
                </c:pt>
                <c:pt idx="518">
                  <c:v>44176</c:v>
                </c:pt>
                <c:pt idx="519">
                  <c:v>44183</c:v>
                </c:pt>
                <c:pt idx="520">
                  <c:v>44188</c:v>
                </c:pt>
                <c:pt idx="521">
                  <c:v>44196</c:v>
                </c:pt>
                <c:pt idx="522">
                  <c:v>44204</c:v>
                </c:pt>
                <c:pt idx="523">
                  <c:v>44211</c:v>
                </c:pt>
                <c:pt idx="524">
                  <c:v>44218</c:v>
                </c:pt>
                <c:pt idx="525">
                  <c:v>44225</c:v>
                </c:pt>
                <c:pt idx="526">
                  <c:v>44232</c:v>
                </c:pt>
                <c:pt idx="527">
                  <c:v>44239</c:v>
                </c:pt>
                <c:pt idx="528">
                  <c:v>44246</c:v>
                </c:pt>
                <c:pt idx="529">
                  <c:v>44253</c:v>
                </c:pt>
                <c:pt idx="530">
                  <c:v>44260</c:v>
                </c:pt>
                <c:pt idx="531">
                  <c:v>44267</c:v>
                </c:pt>
                <c:pt idx="532">
                  <c:v>44274</c:v>
                </c:pt>
                <c:pt idx="533">
                  <c:v>44281</c:v>
                </c:pt>
                <c:pt idx="534">
                  <c:v>44288</c:v>
                </c:pt>
                <c:pt idx="535">
                  <c:v>44295</c:v>
                </c:pt>
                <c:pt idx="536">
                  <c:v>44302</c:v>
                </c:pt>
                <c:pt idx="537">
                  <c:v>44309</c:v>
                </c:pt>
                <c:pt idx="538">
                  <c:v>44316</c:v>
                </c:pt>
                <c:pt idx="539">
                  <c:v>44323</c:v>
                </c:pt>
                <c:pt idx="540">
                  <c:v>44330</c:v>
                </c:pt>
                <c:pt idx="541">
                  <c:v>44337</c:v>
                </c:pt>
                <c:pt idx="542">
                  <c:v>44344</c:v>
                </c:pt>
                <c:pt idx="543">
                  <c:v>44351</c:v>
                </c:pt>
                <c:pt idx="544">
                  <c:v>44358</c:v>
                </c:pt>
                <c:pt idx="545">
                  <c:v>44365</c:v>
                </c:pt>
                <c:pt idx="546">
                  <c:v>44372</c:v>
                </c:pt>
                <c:pt idx="547">
                  <c:v>44379</c:v>
                </c:pt>
                <c:pt idx="548">
                  <c:v>44386</c:v>
                </c:pt>
                <c:pt idx="549">
                  <c:v>44393</c:v>
                </c:pt>
                <c:pt idx="550">
                  <c:v>44400</c:v>
                </c:pt>
                <c:pt idx="551">
                  <c:v>44407</c:v>
                </c:pt>
                <c:pt idx="552">
                  <c:v>44414</c:v>
                </c:pt>
                <c:pt idx="553">
                  <c:v>44421</c:v>
                </c:pt>
                <c:pt idx="554">
                  <c:v>44428</c:v>
                </c:pt>
                <c:pt idx="555">
                  <c:v>44435</c:v>
                </c:pt>
                <c:pt idx="556">
                  <c:v>44442</c:v>
                </c:pt>
                <c:pt idx="557">
                  <c:v>44449</c:v>
                </c:pt>
                <c:pt idx="558">
                  <c:v>44456</c:v>
                </c:pt>
                <c:pt idx="559">
                  <c:v>44463</c:v>
                </c:pt>
                <c:pt idx="560">
                  <c:v>44470</c:v>
                </c:pt>
                <c:pt idx="561">
                  <c:v>44477</c:v>
                </c:pt>
                <c:pt idx="562">
                  <c:v>44484</c:v>
                </c:pt>
                <c:pt idx="563">
                  <c:v>44491</c:v>
                </c:pt>
                <c:pt idx="564">
                  <c:v>44498</c:v>
                </c:pt>
                <c:pt idx="565">
                  <c:v>44505</c:v>
                </c:pt>
                <c:pt idx="566">
                  <c:v>44512</c:v>
                </c:pt>
                <c:pt idx="567">
                  <c:v>44519</c:v>
                </c:pt>
                <c:pt idx="568">
                  <c:v>44526</c:v>
                </c:pt>
                <c:pt idx="569">
                  <c:v>44533</c:v>
                </c:pt>
                <c:pt idx="570">
                  <c:v>44540</c:v>
                </c:pt>
                <c:pt idx="571">
                  <c:v>44547</c:v>
                </c:pt>
                <c:pt idx="572">
                  <c:v>44554</c:v>
                </c:pt>
                <c:pt idx="573">
                  <c:v>44561</c:v>
                </c:pt>
                <c:pt idx="574">
                  <c:v>44568</c:v>
                </c:pt>
                <c:pt idx="575">
                  <c:v>44575</c:v>
                </c:pt>
                <c:pt idx="576">
                  <c:v>44582</c:v>
                </c:pt>
                <c:pt idx="577">
                  <c:v>44589</c:v>
                </c:pt>
                <c:pt idx="578">
                  <c:v>44596</c:v>
                </c:pt>
                <c:pt idx="579">
                  <c:v>44603</c:v>
                </c:pt>
                <c:pt idx="580">
                  <c:v>44610</c:v>
                </c:pt>
                <c:pt idx="581">
                  <c:v>44617</c:v>
                </c:pt>
                <c:pt idx="582">
                  <c:v>44624</c:v>
                </c:pt>
                <c:pt idx="583">
                  <c:v>44631</c:v>
                </c:pt>
                <c:pt idx="584">
                  <c:v>44638</c:v>
                </c:pt>
                <c:pt idx="585">
                  <c:v>44645</c:v>
                </c:pt>
                <c:pt idx="586">
                  <c:v>44652</c:v>
                </c:pt>
                <c:pt idx="587">
                  <c:v>44659</c:v>
                </c:pt>
                <c:pt idx="588">
                  <c:v>44666</c:v>
                </c:pt>
                <c:pt idx="589">
                  <c:v>44673</c:v>
                </c:pt>
                <c:pt idx="590">
                  <c:v>44680</c:v>
                </c:pt>
                <c:pt idx="591">
                  <c:v>44687</c:v>
                </c:pt>
                <c:pt idx="592">
                  <c:v>44694</c:v>
                </c:pt>
                <c:pt idx="593">
                  <c:v>44701</c:v>
                </c:pt>
                <c:pt idx="594">
                  <c:v>44708</c:v>
                </c:pt>
                <c:pt idx="595">
                  <c:v>44715</c:v>
                </c:pt>
                <c:pt idx="596">
                  <c:v>44722</c:v>
                </c:pt>
                <c:pt idx="597">
                  <c:v>44729</c:v>
                </c:pt>
                <c:pt idx="598">
                  <c:v>44736</c:v>
                </c:pt>
                <c:pt idx="599">
                  <c:v>44743</c:v>
                </c:pt>
                <c:pt idx="600">
                  <c:v>44750</c:v>
                </c:pt>
                <c:pt idx="601">
                  <c:v>44757</c:v>
                </c:pt>
                <c:pt idx="602">
                  <c:v>44764</c:v>
                </c:pt>
                <c:pt idx="603">
                  <c:v>44771</c:v>
                </c:pt>
                <c:pt idx="604">
                  <c:v>44778</c:v>
                </c:pt>
                <c:pt idx="605">
                  <c:v>44785</c:v>
                </c:pt>
                <c:pt idx="606">
                  <c:v>44792</c:v>
                </c:pt>
                <c:pt idx="607">
                  <c:v>44799</c:v>
                </c:pt>
                <c:pt idx="608">
                  <c:v>44806</c:v>
                </c:pt>
                <c:pt idx="609">
                  <c:v>44813</c:v>
                </c:pt>
                <c:pt idx="610">
                  <c:v>44820</c:v>
                </c:pt>
                <c:pt idx="611">
                  <c:v>44827</c:v>
                </c:pt>
                <c:pt idx="612">
                  <c:v>44834</c:v>
                </c:pt>
                <c:pt idx="613">
                  <c:v>44841</c:v>
                </c:pt>
                <c:pt idx="614">
                  <c:v>44848</c:v>
                </c:pt>
                <c:pt idx="615">
                  <c:v>44855</c:v>
                </c:pt>
                <c:pt idx="616">
                  <c:v>44862</c:v>
                </c:pt>
                <c:pt idx="617">
                  <c:v>44869</c:v>
                </c:pt>
                <c:pt idx="618">
                  <c:v>44876</c:v>
                </c:pt>
                <c:pt idx="619">
                  <c:v>44883</c:v>
                </c:pt>
                <c:pt idx="620">
                  <c:v>44890</c:v>
                </c:pt>
                <c:pt idx="621">
                  <c:v>44897</c:v>
                </c:pt>
                <c:pt idx="622">
                  <c:v>44904</c:v>
                </c:pt>
                <c:pt idx="623">
                  <c:v>44911</c:v>
                </c:pt>
                <c:pt idx="624">
                  <c:v>44918</c:v>
                </c:pt>
                <c:pt idx="625">
                  <c:v>44925</c:v>
                </c:pt>
                <c:pt idx="626">
                  <c:v>44932</c:v>
                </c:pt>
              </c:numCache>
            </c:numRef>
          </c:cat>
          <c:val>
            <c:numRef>
              <c:f>'LC JFP'!$I$469:$I$1056</c:f>
              <c:numCache>
                <c:formatCode>0.0</c:formatCode>
                <c:ptCount val="588"/>
                <c:pt idx="0">
                  <c:v>94.27</c:v>
                </c:pt>
                <c:pt idx="1">
                  <c:v>98.81</c:v>
                </c:pt>
                <c:pt idx="2">
                  <c:v>96.66</c:v>
                </c:pt>
                <c:pt idx="3">
                  <c:v>97.78</c:v>
                </c:pt>
                <c:pt idx="4">
                  <c:v>100.34</c:v>
                </c:pt>
                <c:pt idx="5">
                  <c:v>100.69</c:v>
                </c:pt>
                <c:pt idx="6">
                  <c:v>102.43</c:v>
                </c:pt>
                <c:pt idx="7">
                  <c:v>112.48</c:v>
                </c:pt>
                <c:pt idx="8">
                  <c:v>116.35</c:v>
                </c:pt>
                <c:pt idx="9">
                  <c:v>114.11</c:v>
                </c:pt>
                <c:pt idx="10">
                  <c:v>114.21</c:v>
                </c:pt>
                <c:pt idx="11">
                  <c:v>115.65</c:v>
                </c:pt>
                <c:pt idx="12">
                  <c:v>118.4</c:v>
                </c:pt>
                <c:pt idx="13">
                  <c:v>125.73</c:v>
                </c:pt>
                <c:pt idx="14">
                  <c:v>124.07</c:v>
                </c:pt>
                <c:pt idx="15">
                  <c:v>124.86</c:v>
                </c:pt>
                <c:pt idx="16">
                  <c:v>126.11</c:v>
                </c:pt>
                <c:pt idx="17">
                  <c:v>113.32</c:v>
                </c:pt>
                <c:pt idx="18">
                  <c:v>112.53</c:v>
                </c:pt>
                <c:pt idx="19">
                  <c:v>110.93</c:v>
                </c:pt>
                <c:pt idx="20">
                  <c:v>114.87</c:v>
                </c:pt>
                <c:pt idx="21">
                  <c:v>115.09</c:v>
                </c:pt>
                <c:pt idx="22">
                  <c:v>118.44</c:v>
                </c:pt>
                <c:pt idx="23">
                  <c:v>114.09</c:v>
                </c:pt>
                <c:pt idx="24">
                  <c:v>106.16</c:v>
                </c:pt>
                <c:pt idx="25">
                  <c:v>110.85</c:v>
                </c:pt>
                <c:pt idx="26">
                  <c:v>117.73</c:v>
                </c:pt>
                <c:pt idx="27">
                  <c:v>118.53</c:v>
                </c:pt>
                <c:pt idx="28">
                  <c:v>119.88</c:v>
                </c:pt>
                <c:pt idx="29">
                  <c:v>117.53</c:v>
                </c:pt>
                <c:pt idx="30">
                  <c:v>108.7</c:v>
                </c:pt>
                <c:pt idx="31">
                  <c:v>107.99</c:v>
                </c:pt>
                <c:pt idx="32">
                  <c:v>108.59</c:v>
                </c:pt>
                <c:pt idx="33">
                  <c:v>111.09</c:v>
                </c:pt>
                <c:pt idx="34">
                  <c:v>113.74</c:v>
                </c:pt>
                <c:pt idx="35">
                  <c:v>112.55</c:v>
                </c:pt>
                <c:pt idx="36">
                  <c:v>115.1</c:v>
                </c:pt>
                <c:pt idx="37">
                  <c:v>108.43</c:v>
                </c:pt>
                <c:pt idx="38">
                  <c:v>106.22</c:v>
                </c:pt>
                <c:pt idx="39">
                  <c:v>106.13</c:v>
                </c:pt>
                <c:pt idx="40">
                  <c:v>114.2</c:v>
                </c:pt>
                <c:pt idx="41">
                  <c:v>113.02</c:v>
                </c:pt>
                <c:pt idx="42">
                  <c:v>112.4</c:v>
                </c:pt>
                <c:pt idx="43">
                  <c:v>113.94</c:v>
                </c:pt>
                <c:pt idx="44">
                  <c:v>114.5</c:v>
                </c:pt>
                <c:pt idx="45">
                  <c:v>108.8</c:v>
                </c:pt>
                <c:pt idx="46">
                  <c:v>106.84</c:v>
                </c:pt>
                <c:pt idx="47">
                  <c:v>109.82</c:v>
                </c:pt>
                <c:pt idx="48">
                  <c:v>107.95</c:v>
                </c:pt>
                <c:pt idx="49">
                  <c:v>104.95</c:v>
                </c:pt>
                <c:pt idx="50">
                  <c:v>108.77</c:v>
                </c:pt>
                <c:pt idx="51">
                  <c:v>108.28</c:v>
                </c:pt>
                <c:pt idx="52">
                  <c:v>112.39</c:v>
                </c:pt>
                <c:pt idx="53">
                  <c:v>110.56</c:v>
                </c:pt>
                <c:pt idx="54">
                  <c:v>109.46</c:v>
                </c:pt>
                <c:pt idx="55">
                  <c:v>111.3</c:v>
                </c:pt>
                <c:pt idx="56">
                  <c:v>112.85</c:v>
                </c:pt>
                <c:pt idx="57">
                  <c:v>117.49</c:v>
                </c:pt>
                <c:pt idx="58">
                  <c:v>119.79</c:v>
                </c:pt>
                <c:pt idx="59">
                  <c:v>124.62</c:v>
                </c:pt>
                <c:pt idx="60">
                  <c:v>124.48</c:v>
                </c:pt>
                <c:pt idx="61">
                  <c:v>126.26</c:v>
                </c:pt>
                <c:pt idx="62">
                  <c:v>124.81</c:v>
                </c:pt>
                <c:pt idx="63">
                  <c:v>125.23</c:v>
                </c:pt>
                <c:pt idx="64">
                  <c:v>123.4</c:v>
                </c:pt>
                <c:pt idx="65">
                  <c:v>122.84</c:v>
                </c:pt>
                <c:pt idx="66">
                  <c:v>121.13</c:v>
                </c:pt>
                <c:pt idx="67">
                  <c:v>119.32</c:v>
                </c:pt>
                <c:pt idx="68">
                  <c:v>119.51</c:v>
                </c:pt>
                <c:pt idx="69">
                  <c:v>112.35</c:v>
                </c:pt>
                <c:pt idx="70">
                  <c:v>112.82</c:v>
                </c:pt>
                <c:pt idx="71">
                  <c:v>108.36</c:v>
                </c:pt>
                <c:pt idx="72">
                  <c:v>108.2</c:v>
                </c:pt>
                <c:pt idx="73">
                  <c:v>98.36</c:v>
                </c:pt>
                <c:pt idx="74">
                  <c:v>97.78</c:v>
                </c:pt>
                <c:pt idx="75">
                  <c:v>97.8</c:v>
                </c:pt>
                <c:pt idx="76">
                  <c:v>90.56</c:v>
                </c:pt>
                <c:pt idx="77">
                  <c:v>95.44</c:v>
                </c:pt>
                <c:pt idx="78">
                  <c:v>98.25</c:v>
                </c:pt>
                <c:pt idx="79">
                  <c:v>102.27</c:v>
                </c:pt>
                <c:pt idx="80">
                  <c:v>107.48</c:v>
                </c:pt>
                <c:pt idx="81">
                  <c:v>107.12</c:v>
                </c:pt>
                <c:pt idx="82">
                  <c:v>108.98</c:v>
                </c:pt>
                <c:pt idx="83">
                  <c:v>112.78</c:v>
                </c:pt>
                <c:pt idx="84">
                  <c:v>115.87</c:v>
                </c:pt>
                <c:pt idx="85">
                  <c:v>116.71</c:v>
                </c:pt>
                <c:pt idx="86">
                  <c:v>116.3</c:v>
                </c:pt>
                <c:pt idx="87">
                  <c:v>113.91</c:v>
                </c:pt>
                <c:pt idx="88">
                  <c:v>117.82</c:v>
                </c:pt>
                <c:pt idx="89">
                  <c:v>111.74</c:v>
                </c:pt>
                <c:pt idx="90">
                  <c:v>112.56</c:v>
                </c:pt>
                <c:pt idx="91">
                  <c:v>111.69</c:v>
                </c:pt>
                <c:pt idx="92">
                  <c:v>114.5</c:v>
                </c:pt>
                <c:pt idx="93">
                  <c:v>112.39</c:v>
                </c:pt>
                <c:pt idx="94">
                  <c:v>109.53</c:v>
                </c:pt>
                <c:pt idx="95">
                  <c:v>106.51</c:v>
                </c:pt>
                <c:pt idx="96">
                  <c:v>108.16</c:v>
                </c:pt>
                <c:pt idx="97">
                  <c:v>109.33</c:v>
                </c:pt>
                <c:pt idx="98">
                  <c:v>112.16</c:v>
                </c:pt>
                <c:pt idx="99">
                  <c:v>112.25</c:v>
                </c:pt>
                <c:pt idx="100">
                  <c:v>107.09</c:v>
                </c:pt>
                <c:pt idx="101">
                  <c:v>109</c:v>
                </c:pt>
                <c:pt idx="102">
                  <c:v>109.55</c:v>
                </c:pt>
                <c:pt idx="103">
                  <c:v>110.78</c:v>
                </c:pt>
                <c:pt idx="104">
                  <c:v>111.32</c:v>
                </c:pt>
                <c:pt idx="105">
                  <c:v>110.16</c:v>
                </c:pt>
                <c:pt idx="106">
                  <c:v>111.59</c:v>
                </c:pt>
                <c:pt idx="107">
                  <c:v>113.77</c:v>
                </c:pt>
                <c:pt idx="108">
                  <c:v>116.9</c:v>
                </c:pt>
                <c:pt idx="109">
                  <c:v>119.15</c:v>
                </c:pt>
                <c:pt idx="110">
                  <c:v>117.5</c:v>
                </c:pt>
                <c:pt idx="111">
                  <c:v>114.29</c:v>
                </c:pt>
                <c:pt idx="112">
                  <c:v>110.89</c:v>
                </c:pt>
                <c:pt idx="113">
                  <c:v>109.94</c:v>
                </c:pt>
                <c:pt idx="114">
                  <c:v>110.38</c:v>
                </c:pt>
                <c:pt idx="115">
                  <c:v>107.98</c:v>
                </c:pt>
                <c:pt idx="116">
                  <c:v>109.57</c:v>
                </c:pt>
                <c:pt idx="117">
                  <c:v>104.82</c:v>
                </c:pt>
                <c:pt idx="118">
                  <c:v>101.7</c:v>
                </c:pt>
                <c:pt idx="119">
                  <c:v>98.85</c:v>
                </c:pt>
                <c:pt idx="120">
                  <c:v>102.6</c:v>
                </c:pt>
                <c:pt idx="121">
                  <c:v>104.63</c:v>
                </c:pt>
                <c:pt idx="122">
                  <c:v>102.11</c:v>
                </c:pt>
                <c:pt idx="123">
                  <c:v>104.18</c:v>
                </c:pt>
                <c:pt idx="124">
                  <c:v>102</c:v>
                </c:pt>
                <c:pt idx="125">
                  <c:v>101.14</c:v>
                </c:pt>
                <c:pt idx="126">
                  <c:v>104.3</c:v>
                </c:pt>
                <c:pt idx="127">
                  <c:v>106.18</c:v>
                </c:pt>
                <c:pt idx="128">
                  <c:v>100.71</c:v>
                </c:pt>
                <c:pt idx="129">
                  <c:v>102.61</c:v>
                </c:pt>
                <c:pt idx="130">
                  <c:v>107.12</c:v>
                </c:pt>
                <c:pt idx="131">
                  <c:v>108.6</c:v>
                </c:pt>
                <c:pt idx="132">
                  <c:v>109.33</c:v>
                </c:pt>
                <c:pt idx="133">
                  <c:v>107.92</c:v>
                </c:pt>
                <c:pt idx="134">
                  <c:v>108.98</c:v>
                </c:pt>
                <c:pt idx="135">
                  <c:v>107.47</c:v>
                </c:pt>
                <c:pt idx="136">
                  <c:v>111.58</c:v>
                </c:pt>
                <c:pt idx="137">
                  <c:v>112.15</c:v>
                </c:pt>
                <c:pt idx="138">
                  <c:v>116.2</c:v>
                </c:pt>
                <c:pt idx="139">
                  <c:v>116.56</c:v>
                </c:pt>
                <c:pt idx="140">
                  <c:v>112.27</c:v>
                </c:pt>
                <c:pt idx="141">
                  <c:v>110.26</c:v>
                </c:pt>
                <c:pt idx="142">
                  <c:v>110.5</c:v>
                </c:pt>
                <c:pt idx="143">
                  <c:v>109.13</c:v>
                </c:pt>
                <c:pt idx="144">
                  <c:v>110.68</c:v>
                </c:pt>
                <c:pt idx="145">
                  <c:v>110.1</c:v>
                </c:pt>
                <c:pt idx="146">
                  <c:v>106.96</c:v>
                </c:pt>
                <c:pt idx="147">
                  <c:v>106.83</c:v>
                </c:pt>
                <c:pt idx="148">
                  <c:v>104.46</c:v>
                </c:pt>
                <c:pt idx="149">
                  <c:v>108.56</c:v>
                </c:pt>
                <c:pt idx="150">
                  <c:v>110.81</c:v>
                </c:pt>
                <c:pt idx="151">
                  <c:v>111.24</c:v>
                </c:pt>
                <c:pt idx="152">
                  <c:v>111.44</c:v>
                </c:pt>
                <c:pt idx="153">
                  <c:v>108.31</c:v>
                </c:pt>
                <c:pt idx="154">
                  <c:v>111.94</c:v>
                </c:pt>
                <c:pt idx="155">
                  <c:v>112.95</c:v>
                </c:pt>
                <c:pt idx="156">
                  <c:v>107.07</c:v>
                </c:pt>
                <c:pt idx="157">
                  <c:v>106.29</c:v>
                </c:pt>
                <c:pt idx="158">
                  <c:v>107.72</c:v>
                </c:pt>
                <c:pt idx="159">
                  <c:v>108.29</c:v>
                </c:pt>
                <c:pt idx="160">
                  <c:v>107.97</c:v>
                </c:pt>
                <c:pt idx="161">
                  <c:v>108.19</c:v>
                </c:pt>
                <c:pt idx="162">
                  <c:v>108.54</c:v>
                </c:pt>
                <c:pt idx="163">
                  <c:v>110.02</c:v>
                </c:pt>
                <c:pt idx="164">
                  <c:v>109.29</c:v>
                </c:pt>
                <c:pt idx="165">
                  <c:v>108.9</c:v>
                </c:pt>
                <c:pt idx="166">
                  <c:v>108.47</c:v>
                </c:pt>
                <c:pt idx="167">
                  <c:v>107.67</c:v>
                </c:pt>
                <c:pt idx="168">
                  <c:v>108.04</c:v>
                </c:pt>
                <c:pt idx="169">
                  <c:v>106.55</c:v>
                </c:pt>
                <c:pt idx="170">
                  <c:v>107.58</c:v>
                </c:pt>
                <c:pt idx="171">
                  <c:v>109.21</c:v>
                </c:pt>
                <c:pt idx="172">
                  <c:v>109.42</c:v>
                </c:pt>
                <c:pt idx="173">
                  <c:v>108.88</c:v>
                </c:pt>
                <c:pt idx="174">
                  <c:v>108.13</c:v>
                </c:pt>
                <c:pt idx="175">
                  <c:v>111.13</c:v>
                </c:pt>
                <c:pt idx="176">
                  <c:v>111.61</c:v>
                </c:pt>
                <c:pt idx="177">
                  <c:v>110.53</c:v>
                </c:pt>
                <c:pt idx="178">
                  <c:v>108.84</c:v>
                </c:pt>
                <c:pt idx="179">
                  <c:v>112.99</c:v>
                </c:pt>
                <c:pt idx="180">
                  <c:v>115.11</c:v>
                </c:pt>
                <c:pt idx="181">
                  <c:v>113.52</c:v>
                </c:pt>
                <c:pt idx="182">
                  <c:v>110.43</c:v>
                </c:pt>
                <c:pt idx="183">
                  <c:v>106.77</c:v>
                </c:pt>
                <c:pt idx="184">
                  <c:v>106.72</c:v>
                </c:pt>
                <c:pt idx="185">
                  <c:v>106.44</c:v>
                </c:pt>
                <c:pt idx="186">
                  <c:v>103.31</c:v>
                </c:pt>
                <c:pt idx="187">
                  <c:v>104.57</c:v>
                </c:pt>
                <c:pt idx="188">
                  <c:v>101.96</c:v>
                </c:pt>
                <c:pt idx="189">
                  <c:v>101.03</c:v>
                </c:pt>
                <c:pt idx="190">
                  <c:v>101.54</c:v>
                </c:pt>
                <c:pt idx="191">
                  <c:v>100.51</c:v>
                </c:pt>
                <c:pt idx="192">
                  <c:v>96.97</c:v>
                </c:pt>
                <c:pt idx="193">
                  <c:v>96.99</c:v>
                </c:pt>
                <c:pt idx="194">
                  <c:v>95.71</c:v>
                </c:pt>
                <c:pt idx="195">
                  <c:v>91.3</c:v>
                </c:pt>
                <c:pt idx="196">
                  <c:v>89.23</c:v>
                </c:pt>
                <c:pt idx="197">
                  <c:v>85.42</c:v>
                </c:pt>
                <c:pt idx="198">
                  <c:v>85.71</c:v>
                </c:pt>
                <c:pt idx="199">
                  <c:v>84.45</c:v>
                </c:pt>
                <c:pt idx="200">
                  <c:v>83.41</c:v>
                </c:pt>
                <c:pt idx="201">
                  <c:v>77.489999999999995</c:v>
                </c:pt>
                <c:pt idx="202">
                  <c:v>79.260000000000005</c:v>
                </c:pt>
                <c:pt idx="203">
                  <c:v>71.95</c:v>
                </c:pt>
                <c:pt idx="204">
                  <c:v>68.62</c:v>
                </c:pt>
                <c:pt idx="205">
                  <c:v>62.08</c:v>
                </c:pt>
                <c:pt idx="206">
                  <c:v>60.06</c:v>
                </c:pt>
                <c:pt idx="207">
                  <c:v>59.88</c:v>
                </c:pt>
                <c:pt idx="208">
                  <c:v>56.01</c:v>
                </c:pt>
                <c:pt idx="209">
                  <c:v>48.84</c:v>
                </c:pt>
                <c:pt idx="210">
                  <c:v>48.16</c:v>
                </c:pt>
                <c:pt idx="211">
                  <c:v>47.73</c:v>
                </c:pt>
                <c:pt idx="212">
                  <c:v>48.04</c:v>
                </c:pt>
                <c:pt idx="213">
                  <c:v>57.38</c:v>
                </c:pt>
                <c:pt idx="214">
                  <c:v>60.67</c:v>
                </c:pt>
                <c:pt idx="215">
                  <c:v>60.22</c:v>
                </c:pt>
                <c:pt idx="216">
                  <c:v>61.06</c:v>
                </c:pt>
                <c:pt idx="217">
                  <c:v>60.01</c:v>
                </c:pt>
                <c:pt idx="218">
                  <c:v>55.24</c:v>
                </c:pt>
                <c:pt idx="219">
                  <c:v>54.62</c:v>
                </c:pt>
                <c:pt idx="220">
                  <c:v>57.16</c:v>
                </c:pt>
                <c:pt idx="221">
                  <c:v>54.7</c:v>
                </c:pt>
                <c:pt idx="222">
                  <c:v>57.09</c:v>
                </c:pt>
                <c:pt idx="223">
                  <c:v>62.53</c:v>
                </c:pt>
                <c:pt idx="224">
                  <c:v>63.48</c:v>
                </c:pt>
                <c:pt idx="225">
                  <c:v>65.39</c:v>
                </c:pt>
                <c:pt idx="226">
                  <c:v>64.72</c:v>
                </c:pt>
                <c:pt idx="227">
                  <c:v>65.78</c:v>
                </c:pt>
                <c:pt idx="228">
                  <c:v>65.06</c:v>
                </c:pt>
                <c:pt idx="229">
                  <c:v>64.260000000000005</c:v>
                </c:pt>
                <c:pt idx="230">
                  <c:v>61.47</c:v>
                </c:pt>
                <c:pt idx="231">
                  <c:v>64.03</c:v>
                </c:pt>
                <c:pt idx="232">
                  <c:v>61.18</c:v>
                </c:pt>
                <c:pt idx="233">
                  <c:v>61.38</c:v>
                </c:pt>
                <c:pt idx="234">
                  <c:v>59.74</c:v>
                </c:pt>
                <c:pt idx="235">
                  <c:v>57.75</c:v>
                </c:pt>
                <c:pt idx="236">
                  <c:v>56.74</c:v>
                </c:pt>
                <c:pt idx="237">
                  <c:v>54.61</c:v>
                </c:pt>
                <c:pt idx="238">
                  <c:v>52.79</c:v>
                </c:pt>
                <c:pt idx="239">
                  <c:v>48.49</c:v>
                </c:pt>
                <c:pt idx="240">
                  <c:v>48.73</c:v>
                </c:pt>
                <c:pt idx="241">
                  <c:v>44.73</c:v>
                </c:pt>
                <c:pt idx="242">
                  <c:v>48.93</c:v>
                </c:pt>
                <c:pt idx="243">
                  <c:v>49.65</c:v>
                </c:pt>
                <c:pt idx="244">
                  <c:v>47.6</c:v>
                </c:pt>
                <c:pt idx="245">
                  <c:v>47.19</c:v>
                </c:pt>
                <c:pt idx="246">
                  <c:v>47.57</c:v>
                </c:pt>
                <c:pt idx="247">
                  <c:v>46.64</c:v>
                </c:pt>
                <c:pt idx="248">
                  <c:v>52.43</c:v>
                </c:pt>
                <c:pt idx="249">
                  <c:v>49.32</c:v>
                </c:pt>
                <c:pt idx="250">
                  <c:v>47.02</c:v>
                </c:pt>
                <c:pt idx="251">
                  <c:v>48.45</c:v>
                </c:pt>
                <c:pt idx="252">
                  <c:v>46.99</c:v>
                </c:pt>
                <c:pt idx="253">
                  <c:v>43.44</c:v>
                </c:pt>
                <c:pt idx="254">
                  <c:v>43.27</c:v>
                </c:pt>
                <c:pt idx="255">
                  <c:v>43.88</c:v>
                </c:pt>
                <c:pt idx="256">
                  <c:v>42.77</c:v>
                </c:pt>
                <c:pt idx="257">
                  <c:v>37.93</c:v>
                </c:pt>
                <c:pt idx="258">
                  <c:v>37.130000000000003</c:v>
                </c:pt>
                <c:pt idx="259">
                  <c:v>37.159999999999997</c:v>
                </c:pt>
                <c:pt idx="260">
                  <c:v>35.700000000000003</c:v>
                </c:pt>
                <c:pt idx="261">
                  <c:v>32.26</c:v>
                </c:pt>
                <c:pt idx="262">
                  <c:v>29.8</c:v>
                </c:pt>
                <c:pt idx="263">
                  <c:v>31.7</c:v>
                </c:pt>
                <c:pt idx="264">
                  <c:v>34.299999999999997</c:v>
                </c:pt>
                <c:pt idx="265">
                  <c:v>34.56</c:v>
                </c:pt>
                <c:pt idx="266">
                  <c:v>32.9</c:v>
                </c:pt>
                <c:pt idx="267">
                  <c:v>33.19</c:v>
                </c:pt>
                <c:pt idx="268">
                  <c:v>36.31</c:v>
                </c:pt>
                <c:pt idx="269">
                  <c:v>38.270000000000003</c:v>
                </c:pt>
                <c:pt idx="270">
                  <c:v>40.58</c:v>
                </c:pt>
                <c:pt idx="271">
                  <c:v>41.61</c:v>
                </c:pt>
                <c:pt idx="272">
                  <c:v>39.869999999999997</c:v>
                </c:pt>
                <c:pt idx="273">
                  <c:v>38.76</c:v>
                </c:pt>
                <c:pt idx="274">
                  <c:v>42.1</c:v>
                </c:pt>
                <c:pt idx="275">
                  <c:v>42.96</c:v>
                </c:pt>
                <c:pt idx="276">
                  <c:v>45.69</c:v>
                </c:pt>
                <c:pt idx="277">
                  <c:v>47.49</c:v>
                </c:pt>
                <c:pt idx="278">
                  <c:v>45.93</c:v>
                </c:pt>
                <c:pt idx="279">
                  <c:v>48</c:v>
                </c:pt>
                <c:pt idx="280">
                  <c:v>48.95</c:v>
                </c:pt>
                <c:pt idx="281">
                  <c:v>49.37</c:v>
                </c:pt>
                <c:pt idx="282">
                  <c:v>49.68</c:v>
                </c:pt>
                <c:pt idx="283">
                  <c:v>51.06</c:v>
                </c:pt>
                <c:pt idx="284">
                  <c:v>48.47</c:v>
                </c:pt>
                <c:pt idx="285">
                  <c:v>48.75</c:v>
                </c:pt>
                <c:pt idx="286">
                  <c:v>49.89</c:v>
                </c:pt>
                <c:pt idx="287">
                  <c:v>46.7</c:v>
                </c:pt>
                <c:pt idx="288">
                  <c:v>47.7</c:v>
                </c:pt>
                <c:pt idx="289">
                  <c:v>45.53</c:v>
                </c:pt>
                <c:pt idx="290">
                  <c:v>42.44</c:v>
                </c:pt>
                <c:pt idx="291">
                  <c:v>43.69</c:v>
                </c:pt>
                <c:pt idx="292">
                  <c:v>46.83</c:v>
                </c:pt>
                <c:pt idx="293">
                  <c:v>50.61</c:v>
                </c:pt>
                <c:pt idx="294">
                  <c:v>50.15</c:v>
                </c:pt>
                <c:pt idx="295">
                  <c:v>46.91</c:v>
                </c:pt>
                <c:pt idx="296">
                  <c:v>48.94</c:v>
                </c:pt>
                <c:pt idx="297">
                  <c:v>46.26</c:v>
                </c:pt>
                <c:pt idx="298">
                  <c:v>47.47</c:v>
                </c:pt>
                <c:pt idx="299">
                  <c:v>48.97</c:v>
                </c:pt>
                <c:pt idx="300">
                  <c:v>52.38</c:v>
                </c:pt>
                <c:pt idx="301">
                  <c:v>51.64</c:v>
                </c:pt>
                <c:pt idx="302">
                  <c:v>51.63</c:v>
                </c:pt>
                <c:pt idx="303">
                  <c:v>50.21</c:v>
                </c:pt>
                <c:pt idx="304">
                  <c:v>45.61</c:v>
                </c:pt>
                <c:pt idx="305">
                  <c:v>44.4</c:v>
                </c:pt>
                <c:pt idx="306">
                  <c:v>46.41</c:v>
                </c:pt>
                <c:pt idx="307">
                  <c:v>47.27</c:v>
                </c:pt>
                <c:pt idx="308">
                  <c:v>54.25</c:v>
                </c:pt>
                <c:pt idx="309">
                  <c:v>54.19</c:v>
                </c:pt>
                <c:pt idx="310">
                  <c:v>55.21</c:v>
                </c:pt>
                <c:pt idx="311">
                  <c:v>54.74</c:v>
                </c:pt>
                <c:pt idx="312">
                  <c:v>56.71</c:v>
                </c:pt>
                <c:pt idx="313">
                  <c:v>57.03</c:v>
                </c:pt>
                <c:pt idx="314">
                  <c:v>55.32</c:v>
                </c:pt>
                <c:pt idx="315">
                  <c:v>55.69</c:v>
                </c:pt>
                <c:pt idx="316">
                  <c:v>55.46</c:v>
                </c:pt>
                <c:pt idx="317">
                  <c:v>57.04</c:v>
                </c:pt>
                <c:pt idx="318">
                  <c:v>56.89</c:v>
                </c:pt>
                <c:pt idx="319">
                  <c:v>55.49</c:v>
                </c:pt>
                <c:pt idx="320">
                  <c:v>56.07</c:v>
                </c:pt>
                <c:pt idx="321">
                  <c:v>55.67</c:v>
                </c:pt>
                <c:pt idx="322">
                  <c:v>51.88</c:v>
                </c:pt>
                <c:pt idx="323">
                  <c:v>51.77</c:v>
                </c:pt>
                <c:pt idx="324">
                  <c:v>50.67</c:v>
                </c:pt>
                <c:pt idx="325">
                  <c:v>52.62</c:v>
                </c:pt>
                <c:pt idx="326">
                  <c:v>55.19</c:v>
                </c:pt>
                <c:pt idx="327">
                  <c:v>55.98</c:v>
                </c:pt>
                <c:pt idx="328">
                  <c:v>51.91</c:v>
                </c:pt>
                <c:pt idx="329">
                  <c:v>51.56</c:v>
                </c:pt>
                <c:pt idx="330">
                  <c:v>49.28</c:v>
                </c:pt>
                <c:pt idx="331">
                  <c:v>50.63</c:v>
                </c:pt>
                <c:pt idx="332">
                  <c:v>53.58</c:v>
                </c:pt>
                <c:pt idx="333">
                  <c:v>51.47</c:v>
                </c:pt>
                <c:pt idx="334">
                  <c:v>49.91</c:v>
                </c:pt>
                <c:pt idx="335">
                  <c:v>48.36</c:v>
                </c:pt>
                <c:pt idx="336">
                  <c:v>47.25</c:v>
                </c:pt>
                <c:pt idx="337">
                  <c:v>45.65</c:v>
                </c:pt>
                <c:pt idx="338">
                  <c:v>47.82</c:v>
                </c:pt>
                <c:pt idx="339">
                  <c:v>46.94</c:v>
                </c:pt>
                <c:pt idx="340">
                  <c:v>48.69</c:v>
                </c:pt>
                <c:pt idx="341">
                  <c:v>48.69</c:v>
                </c:pt>
                <c:pt idx="342">
                  <c:v>52.51</c:v>
                </c:pt>
                <c:pt idx="343">
                  <c:v>52.48</c:v>
                </c:pt>
                <c:pt idx="344">
                  <c:v>51.82</c:v>
                </c:pt>
                <c:pt idx="345">
                  <c:v>51.26</c:v>
                </c:pt>
                <c:pt idx="346">
                  <c:v>52.32</c:v>
                </c:pt>
                <c:pt idx="347">
                  <c:v>52.81</c:v>
                </c:pt>
                <c:pt idx="348">
                  <c:v>54.2</c:v>
                </c:pt>
                <c:pt idx="349">
                  <c:v>55.81</c:v>
                </c:pt>
                <c:pt idx="350">
                  <c:v>56.81</c:v>
                </c:pt>
                <c:pt idx="351">
                  <c:v>57.57</c:v>
                </c:pt>
                <c:pt idx="352">
                  <c:v>55.38</c:v>
                </c:pt>
                <c:pt idx="353">
                  <c:v>57.16</c:v>
                </c:pt>
                <c:pt idx="354">
                  <c:v>57.72</c:v>
                </c:pt>
                <c:pt idx="355">
                  <c:v>60.27</c:v>
                </c:pt>
                <c:pt idx="356">
                  <c:v>61.32</c:v>
                </c:pt>
                <c:pt idx="357">
                  <c:v>64.2</c:v>
                </c:pt>
                <c:pt idx="358">
                  <c:v>62.5</c:v>
                </c:pt>
                <c:pt idx="359">
                  <c:v>63.55</c:v>
                </c:pt>
                <c:pt idx="360">
                  <c:v>64.040000000000006</c:v>
                </c:pt>
                <c:pt idx="361">
                  <c:v>63.33</c:v>
                </c:pt>
                <c:pt idx="362">
                  <c:v>63.46</c:v>
                </c:pt>
                <c:pt idx="363">
                  <c:v>64.900000000000006</c:v>
                </c:pt>
                <c:pt idx="364">
                  <c:v>66.61</c:v>
                </c:pt>
                <c:pt idx="365">
                  <c:v>67.58</c:v>
                </c:pt>
                <c:pt idx="366">
                  <c:v>69.239999999999995</c:v>
                </c:pt>
                <c:pt idx="367">
                  <c:v>68.59</c:v>
                </c:pt>
                <c:pt idx="368">
                  <c:v>70.430000000000007</c:v>
                </c:pt>
                <c:pt idx="369">
                  <c:v>68.239999999999995</c:v>
                </c:pt>
                <c:pt idx="370">
                  <c:v>63.42</c:v>
                </c:pt>
                <c:pt idx="371">
                  <c:v>64.900000000000006</c:v>
                </c:pt>
                <c:pt idx="372">
                  <c:v>66.989999999999995</c:v>
                </c:pt>
                <c:pt idx="373">
                  <c:v>63.91</c:v>
                </c:pt>
                <c:pt idx="374">
                  <c:v>65.44</c:v>
                </c:pt>
                <c:pt idx="375">
                  <c:v>66.06</c:v>
                </c:pt>
                <c:pt idx="376">
                  <c:v>70.180000000000007</c:v>
                </c:pt>
                <c:pt idx="377">
                  <c:v>70.09</c:v>
                </c:pt>
                <c:pt idx="378">
                  <c:v>67.510000000000005</c:v>
                </c:pt>
                <c:pt idx="379">
                  <c:v>72.72</c:v>
                </c:pt>
                <c:pt idx="380">
                  <c:v>73.569999999999993</c:v>
                </c:pt>
                <c:pt idx="381">
                  <c:v>74.64</c:v>
                </c:pt>
                <c:pt idx="382">
                  <c:v>74.349999999999994</c:v>
                </c:pt>
                <c:pt idx="383">
                  <c:v>77.47</c:v>
                </c:pt>
                <c:pt idx="384">
                  <c:v>79.2</c:v>
                </c:pt>
                <c:pt idx="385">
                  <c:v>76.430000000000007</c:v>
                </c:pt>
                <c:pt idx="386">
                  <c:v>76.540000000000006</c:v>
                </c:pt>
                <c:pt idx="387">
                  <c:v>76.66</c:v>
                </c:pt>
                <c:pt idx="388">
                  <c:v>73.37</c:v>
                </c:pt>
                <c:pt idx="389">
                  <c:v>74.680000000000007</c:v>
                </c:pt>
                <c:pt idx="390">
                  <c:v>79.44</c:v>
                </c:pt>
                <c:pt idx="391">
                  <c:v>77.09</c:v>
                </c:pt>
                <c:pt idx="392">
                  <c:v>75.510000000000005</c:v>
                </c:pt>
                <c:pt idx="393">
                  <c:v>72.989999999999995</c:v>
                </c:pt>
                <c:pt idx="394">
                  <c:v>74.84</c:v>
                </c:pt>
                <c:pt idx="395">
                  <c:v>73.39</c:v>
                </c:pt>
                <c:pt idx="396">
                  <c:v>72.849999999999994</c:v>
                </c:pt>
                <c:pt idx="397">
                  <c:v>71.92</c:v>
                </c:pt>
                <c:pt idx="398">
                  <c:v>76.209999999999994</c:v>
                </c:pt>
                <c:pt idx="399">
                  <c:v>77.66</c:v>
                </c:pt>
                <c:pt idx="400">
                  <c:v>76.5</c:v>
                </c:pt>
                <c:pt idx="401">
                  <c:v>78.2</c:v>
                </c:pt>
                <c:pt idx="402">
                  <c:v>78.849999999999994</c:v>
                </c:pt>
                <c:pt idx="403">
                  <c:v>82.79</c:v>
                </c:pt>
                <c:pt idx="404">
                  <c:v>84.96</c:v>
                </c:pt>
                <c:pt idx="405">
                  <c:v>80.739999999999995</c:v>
                </c:pt>
                <c:pt idx="406">
                  <c:v>80.06</c:v>
                </c:pt>
                <c:pt idx="407">
                  <c:v>77.05</c:v>
                </c:pt>
                <c:pt idx="408">
                  <c:v>72.78</c:v>
                </c:pt>
                <c:pt idx="409">
                  <c:v>70.06</c:v>
                </c:pt>
                <c:pt idx="410">
                  <c:v>67.19</c:v>
                </c:pt>
                <c:pt idx="411">
                  <c:v>58.92</c:v>
                </c:pt>
                <c:pt idx="412">
                  <c:v>58.74</c:v>
                </c:pt>
                <c:pt idx="413">
                  <c:v>62.96</c:v>
                </c:pt>
                <c:pt idx="414">
                  <c:v>60.27</c:v>
                </c:pt>
                <c:pt idx="415">
                  <c:v>54.16</c:v>
                </c:pt>
                <c:pt idx="416">
                  <c:v>53.13</c:v>
                </c:pt>
                <c:pt idx="417">
                  <c:v>56.91</c:v>
                </c:pt>
                <c:pt idx="418">
                  <c:v>60.73</c:v>
                </c:pt>
                <c:pt idx="419">
                  <c:v>62.68</c:v>
                </c:pt>
                <c:pt idx="420">
                  <c:v>61.48</c:v>
                </c:pt>
                <c:pt idx="421">
                  <c:v>62.16</c:v>
                </c:pt>
                <c:pt idx="422">
                  <c:v>61.87</c:v>
                </c:pt>
                <c:pt idx="423">
                  <c:v>65.95</c:v>
                </c:pt>
                <c:pt idx="424">
                  <c:v>67.260000000000005</c:v>
                </c:pt>
                <c:pt idx="425">
                  <c:v>65.22</c:v>
                </c:pt>
                <c:pt idx="426">
                  <c:v>65.790000000000006</c:v>
                </c:pt>
                <c:pt idx="427">
                  <c:v>66.900000000000006</c:v>
                </c:pt>
                <c:pt idx="428">
                  <c:v>66.53</c:v>
                </c:pt>
                <c:pt idx="429">
                  <c:v>68.55</c:v>
                </c:pt>
                <c:pt idx="430">
                  <c:v>69.88</c:v>
                </c:pt>
                <c:pt idx="431">
                  <c:v>71.72</c:v>
                </c:pt>
                <c:pt idx="432">
                  <c:v>71.900000000000006</c:v>
                </c:pt>
                <c:pt idx="433">
                  <c:v>71.98</c:v>
                </c:pt>
                <c:pt idx="434">
                  <c:v>71.45</c:v>
                </c:pt>
                <c:pt idx="435">
                  <c:v>70.88</c:v>
                </c:pt>
                <c:pt idx="436">
                  <c:v>72.64</c:v>
                </c:pt>
                <c:pt idx="437">
                  <c:v>67.81</c:v>
                </c:pt>
                <c:pt idx="438">
                  <c:v>64.930000000000007</c:v>
                </c:pt>
                <c:pt idx="439">
                  <c:v>62.9</c:v>
                </c:pt>
                <c:pt idx="440">
                  <c:v>62.24</c:v>
                </c:pt>
                <c:pt idx="441">
                  <c:v>65.34</c:v>
                </c:pt>
                <c:pt idx="442">
                  <c:v>66.87</c:v>
                </c:pt>
                <c:pt idx="443">
                  <c:v>64.08</c:v>
                </c:pt>
                <c:pt idx="444">
                  <c:v>66.8</c:v>
                </c:pt>
                <c:pt idx="445">
                  <c:v>62.29</c:v>
                </c:pt>
                <c:pt idx="446">
                  <c:v>63.26</c:v>
                </c:pt>
                <c:pt idx="447">
                  <c:v>62.07</c:v>
                </c:pt>
                <c:pt idx="448">
                  <c:v>58.62</c:v>
                </c:pt>
                <c:pt idx="449">
                  <c:v>58.65</c:v>
                </c:pt>
                <c:pt idx="450">
                  <c:v>59.03</c:v>
                </c:pt>
                <c:pt idx="451">
                  <c:v>60.48</c:v>
                </c:pt>
                <c:pt idx="452">
                  <c:v>60.76</c:v>
                </c:pt>
                <c:pt idx="453">
                  <c:v>60.34</c:v>
                </c:pt>
                <c:pt idx="454">
                  <c:v>64.95</c:v>
                </c:pt>
                <c:pt idx="455">
                  <c:v>62.38</c:v>
                </c:pt>
                <c:pt idx="456">
                  <c:v>58.51</c:v>
                </c:pt>
                <c:pt idx="457">
                  <c:v>60.49</c:v>
                </c:pt>
                <c:pt idx="458">
                  <c:v>59.6</c:v>
                </c:pt>
                <c:pt idx="459">
                  <c:v>61.82</c:v>
                </c:pt>
                <c:pt idx="460">
                  <c:v>60.51</c:v>
                </c:pt>
                <c:pt idx="461">
                  <c:v>62.61</c:v>
                </c:pt>
                <c:pt idx="462">
                  <c:v>63.37</c:v>
                </c:pt>
                <c:pt idx="463">
                  <c:v>63.28</c:v>
                </c:pt>
                <c:pt idx="464">
                  <c:v>62.62</c:v>
                </c:pt>
                <c:pt idx="465">
                  <c:v>64.28</c:v>
                </c:pt>
                <c:pt idx="466">
                  <c:v>64.989999999999995</c:v>
                </c:pt>
                <c:pt idx="467">
                  <c:v>66.16</c:v>
                </c:pt>
                <c:pt idx="468">
                  <c:v>68.19</c:v>
                </c:pt>
                <c:pt idx="469">
                  <c:v>68.06</c:v>
                </c:pt>
                <c:pt idx="470">
                  <c:v>65.599999999999994</c:v>
                </c:pt>
                <c:pt idx="471">
                  <c:v>64.64</c:v>
                </c:pt>
                <c:pt idx="472">
                  <c:v>60.51</c:v>
                </c:pt>
                <c:pt idx="473">
                  <c:v>58.23</c:v>
                </c:pt>
                <c:pt idx="474">
                  <c:v>55.14</c:v>
                </c:pt>
                <c:pt idx="475">
                  <c:v>57.27</c:v>
                </c:pt>
                <c:pt idx="476">
                  <c:v>58.23</c:v>
                </c:pt>
                <c:pt idx="477">
                  <c:v>50.52</c:v>
                </c:pt>
                <c:pt idx="478">
                  <c:v>45.56</c:v>
                </c:pt>
                <c:pt idx="479">
                  <c:v>33.35</c:v>
                </c:pt>
                <c:pt idx="480">
                  <c:v>27.57</c:v>
                </c:pt>
                <c:pt idx="481">
                  <c:v>24.92</c:v>
                </c:pt>
                <c:pt idx="482">
                  <c:v>34.24</c:v>
                </c:pt>
                <c:pt idx="483">
                  <c:v>31.73</c:v>
                </c:pt>
                <c:pt idx="484">
                  <c:v>28.2</c:v>
                </c:pt>
                <c:pt idx="485">
                  <c:v>21.52</c:v>
                </c:pt>
                <c:pt idx="486">
                  <c:v>26.49</c:v>
                </c:pt>
                <c:pt idx="487">
                  <c:v>29.63</c:v>
                </c:pt>
                <c:pt idx="488">
                  <c:v>32.619999999999997</c:v>
                </c:pt>
                <c:pt idx="489">
                  <c:v>35.21</c:v>
                </c:pt>
                <c:pt idx="490">
                  <c:v>35.43</c:v>
                </c:pt>
                <c:pt idx="491">
                  <c:v>42.33</c:v>
                </c:pt>
                <c:pt idx="492">
                  <c:v>38.86</c:v>
                </c:pt>
                <c:pt idx="493">
                  <c:v>42.31</c:v>
                </c:pt>
                <c:pt idx="494">
                  <c:v>41.06</c:v>
                </c:pt>
                <c:pt idx="495">
                  <c:v>42.9</c:v>
                </c:pt>
                <c:pt idx="496">
                  <c:v>43.39</c:v>
                </c:pt>
                <c:pt idx="497">
                  <c:v>43.23</c:v>
                </c:pt>
                <c:pt idx="498">
                  <c:v>43.39</c:v>
                </c:pt>
                <c:pt idx="499">
                  <c:v>43.14</c:v>
                </c:pt>
                <c:pt idx="500">
                  <c:v>44.42</c:v>
                </c:pt>
                <c:pt idx="501">
                  <c:v>44.92</c:v>
                </c:pt>
                <c:pt idx="502">
                  <c:v>44.41</c:v>
                </c:pt>
                <c:pt idx="503">
                  <c:v>45.12</c:v>
                </c:pt>
                <c:pt idx="504">
                  <c:v>42.63</c:v>
                </c:pt>
                <c:pt idx="505">
                  <c:v>39.869999999999997</c:v>
                </c:pt>
                <c:pt idx="506">
                  <c:v>43.2</c:v>
                </c:pt>
                <c:pt idx="507">
                  <c:v>41.96</c:v>
                </c:pt>
                <c:pt idx="508">
                  <c:v>39.35</c:v>
                </c:pt>
                <c:pt idx="509">
                  <c:v>42.95</c:v>
                </c:pt>
                <c:pt idx="510">
                  <c:v>42.98</c:v>
                </c:pt>
                <c:pt idx="511">
                  <c:v>41.84</c:v>
                </c:pt>
                <c:pt idx="512">
                  <c:v>37.54</c:v>
                </c:pt>
                <c:pt idx="513">
                  <c:v>39.56</c:v>
                </c:pt>
                <c:pt idx="514">
                  <c:v>42.83</c:v>
                </c:pt>
                <c:pt idx="515">
                  <c:v>45.03</c:v>
                </c:pt>
                <c:pt idx="516">
                  <c:v>48.33</c:v>
                </c:pt>
                <c:pt idx="517">
                  <c:v>49.35</c:v>
                </c:pt>
                <c:pt idx="518">
                  <c:v>50.08</c:v>
                </c:pt>
                <c:pt idx="519">
                  <c:v>52.29</c:v>
                </c:pt>
                <c:pt idx="520">
                  <c:v>51.38</c:v>
                </c:pt>
                <c:pt idx="521">
                  <c:v>51.89</c:v>
                </c:pt>
                <c:pt idx="522">
                  <c:v>56.06</c:v>
                </c:pt>
                <c:pt idx="523">
                  <c:v>55.2</c:v>
                </c:pt>
                <c:pt idx="524">
                  <c:v>55.57</c:v>
                </c:pt>
                <c:pt idx="525">
                  <c:v>55.95</c:v>
                </c:pt>
                <c:pt idx="526">
                  <c:v>59.47</c:v>
                </c:pt>
                <c:pt idx="527">
                  <c:v>62.57</c:v>
                </c:pt>
                <c:pt idx="528">
                  <c:v>62.94</c:v>
                </c:pt>
                <c:pt idx="529">
                  <c:v>66.08</c:v>
                </c:pt>
                <c:pt idx="530">
                  <c:v>69.5</c:v>
                </c:pt>
                <c:pt idx="531">
                  <c:v>69.319999999999993</c:v>
                </c:pt>
                <c:pt idx="532">
                  <c:v>64.790000000000006</c:v>
                </c:pt>
                <c:pt idx="533">
                  <c:v>64.59</c:v>
                </c:pt>
                <c:pt idx="534">
                  <c:v>64.98</c:v>
                </c:pt>
                <c:pt idx="535">
                  <c:v>63.05</c:v>
                </c:pt>
                <c:pt idx="536">
                  <c:v>66.89</c:v>
                </c:pt>
                <c:pt idx="537">
                  <c:v>66.19</c:v>
                </c:pt>
                <c:pt idx="538">
                  <c:v>67.36</c:v>
                </c:pt>
                <c:pt idx="539">
                  <c:v>68.38</c:v>
                </c:pt>
                <c:pt idx="540">
                  <c:v>68.739999999999995</c:v>
                </c:pt>
                <c:pt idx="541">
                  <c:v>66.510000000000005</c:v>
                </c:pt>
                <c:pt idx="542">
                  <c:v>69.709999999999994</c:v>
                </c:pt>
                <c:pt idx="543">
                  <c:v>72</c:v>
                </c:pt>
                <c:pt idx="544">
                  <c:v>72.88</c:v>
                </c:pt>
                <c:pt idx="545">
                  <c:v>73.599999999999994</c:v>
                </c:pt>
                <c:pt idx="546">
                  <c:v>76.28</c:v>
                </c:pt>
                <c:pt idx="547">
                  <c:v>76.319999999999993</c:v>
                </c:pt>
                <c:pt idx="548">
                  <c:v>75.64</c:v>
                </c:pt>
                <c:pt idx="549">
                  <c:v>73.67</c:v>
                </c:pt>
                <c:pt idx="550">
                  <c:v>74.25</c:v>
                </c:pt>
                <c:pt idx="551">
                  <c:v>76.47</c:v>
                </c:pt>
                <c:pt idx="552">
                  <c:v>70.67</c:v>
                </c:pt>
                <c:pt idx="553">
                  <c:v>70.650000000000006</c:v>
                </c:pt>
                <c:pt idx="554">
                  <c:v>65.260000000000005</c:v>
                </c:pt>
                <c:pt idx="555">
                  <c:v>72.73</c:v>
                </c:pt>
                <c:pt idx="556">
                  <c:v>72.72</c:v>
                </c:pt>
                <c:pt idx="557">
                  <c:v>73.040000000000006</c:v>
                </c:pt>
                <c:pt idx="558">
                  <c:v>75.5</c:v>
                </c:pt>
                <c:pt idx="559">
                  <c:v>75.23</c:v>
                </c:pt>
                <c:pt idx="560">
                  <c:v>79.319999999999993</c:v>
                </c:pt>
                <c:pt idx="561">
                  <c:v>82.52</c:v>
                </c:pt>
                <c:pt idx="562">
                  <c:v>84.98</c:v>
                </c:pt>
                <c:pt idx="563">
                  <c:v>85.63</c:v>
                </c:pt>
                <c:pt idx="564">
                  <c:v>84.39</c:v>
                </c:pt>
                <c:pt idx="565">
                  <c:v>82.93</c:v>
                </c:pt>
                <c:pt idx="566">
                  <c:v>82.39</c:v>
                </c:pt>
                <c:pt idx="567">
                  <c:v>79.03</c:v>
                </c:pt>
                <c:pt idx="568">
                  <c:v>72.94</c:v>
                </c:pt>
                <c:pt idx="569">
                  <c:v>70.08</c:v>
                </c:pt>
                <c:pt idx="570">
                  <c:v>75.33</c:v>
                </c:pt>
                <c:pt idx="571">
                  <c:v>73.599999999999994</c:v>
                </c:pt>
                <c:pt idx="572">
                  <c:v>75.959999999999994</c:v>
                </c:pt>
                <c:pt idx="573">
                  <c:v>78.400000000000006</c:v>
                </c:pt>
                <c:pt idx="574">
                  <c:v>81.88</c:v>
                </c:pt>
                <c:pt idx="575">
                  <c:v>86.17</c:v>
                </c:pt>
                <c:pt idx="576">
                  <c:v>87.95</c:v>
                </c:pt>
                <c:pt idx="577">
                  <c:v>89.97</c:v>
                </c:pt>
                <c:pt idx="578">
                  <c:v>93.36</c:v>
                </c:pt>
                <c:pt idx="579">
                  <c:v>94.6</c:v>
                </c:pt>
                <c:pt idx="580">
                  <c:v>93.32</c:v>
                </c:pt>
                <c:pt idx="581">
                  <c:v>97.99</c:v>
                </c:pt>
                <c:pt idx="582">
                  <c:v>118.31</c:v>
                </c:pt>
                <c:pt idx="583">
                  <c:v>112.71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B5-4FB2-8B01-147A07633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1611424"/>
        <c:axId val="581611816"/>
      </c:lineChart>
      <c:dateAx>
        <c:axId val="581611424"/>
        <c:scaling>
          <c:orientation val="minMax"/>
          <c:max val="44632"/>
          <c:min val="42075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ln w="3175">
            <a:solidFill>
              <a:srgbClr val="585858"/>
            </a:solidFill>
            <a:prstDash val="solid"/>
          </a:ln>
        </c:spPr>
        <c:txPr>
          <a:bodyPr rot="-5400000" vert="horz"/>
          <a:lstStyle/>
          <a:p>
            <a:pPr>
              <a:defRPr sz="1400" b="0" i="0" u="none" strike="noStrike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rial"/>
                <a:cs typeface="Arial"/>
              </a:defRPr>
            </a:pPr>
            <a:endParaRPr lang="en-US"/>
          </a:p>
        </c:txPr>
        <c:crossAx val="581611816"/>
        <c:crosses val="autoZero"/>
        <c:auto val="1"/>
        <c:lblOffset val="100"/>
        <c:baseTimeUnit val="days"/>
        <c:majorUnit val="4"/>
        <c:majorTimeUnit val="months"/>
        <c:minorUnit val="2"/>
        <c:minorTimeUnit val="months"/>
      </c:dateAx>
      <c:valAx>
        <c:axId val="581611816"/>
        <c:scaling>
          <c:orientation val="minMax"/>
          <c:max val="160"/>
          <c:min val="15"/>
        </c:scaling>
        <c:delete val="0"/>
        <c:axPos val="l"/>
        <c:numFmt formatCode="#,##0" sourceLinked="0"/>
        <c:majorTickMark val="out"/>
        <c:minorTickMark val="in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rial"/>
                <a:cs typeface="Arial"/>
              </a:defRPr>
            </a:pPr>
            <a:endParaRPr lang="en-US"/>
          </a:p>
        </c:txPr>
        <c:crossAx val="581611424"/>
        <c:crosses val="autoZero"/>
        <c:crossBetween val="between"/>
        <c:majorUnit val="20"/>
        <c:minorUnit val="10"/>
      </c:valAx>
      <c:spPr>
        <a:solidFill>
          <a:schemeClr val="bg1"/>
        </a:solidFill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200" b="0" i="0" u="none" strike="noStrike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rial"/>
                <a:cs typeface="Arial"/>
              </a:defRPr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200" b="0" i="0" u="none" strike="noStrike" baseline="0">
                <a:solidFill>
                  <a:sysClr val="windowText" lastClr="000000"/>
                </a:solidFill>
                <a:latin typeface="Aktiv Grotesk" panose="020B0504020202020204" pitchFamily="34" charset="0"/>
                <a:ea typeface="Arial"/>
                <a:cs typeface="Arial"/>
              </a:defRPr>
            </a:pPr>
            <a:endParaRPr lang="en-US"/>
          </a:p>
        </c:txPr>
      </c:legendEntry>
      <c:layout>
        <c:manualLayout>
          <c:xMode val="edge"/>
          <c:yMode val="edge"/>
          <c:x val="0.29067076286837396"/>
          <c:y val="0.14172184199045962"/>
          <c:w val="0.64444591913496097"/>
          <c:h val="6.9853175709984477E-2"/>
        </c:manualLayout>
      </c:layout>
      <c:overlay val="0"/>
      <c:txPr>
        <a:bodyPr/>
        <a:lstStyle/>
        <a:p>
          <a:pPr>
            <a:defRPr sz="1175" b="0" i="0" u="none" strike="noStrike" baseline="0">
              <a:solidFill>
                <a:sysClr val="windowText" lastClr="000000"/>
              </a:solidFill>
              <a:latin typeface="Aktiv Grotesk" panose="020B0504020202020204" pitchFamily="34" charset="0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19050">
      <a:solidFill>
        <a:schemeClr val="bg1"/>
      </a:solidFill>
      <a:prstDash val="solid"/>
    </a:ln>
    <a:effectLst/>
  </c:spPr>
  <c:txPr>
    <a:bodyPr/>
    <a:lstStyle/>
    <a:p>
      <a:pPr>
        <a:defRPr sz="1400" b="1" i="0" u="none" strike="noStrike" baseline="0">
          <a:solidFill>
            <a:srgbClr val="333399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800" b="1"/>
              <a:t>Growth</a:t>
            </a:r>
            <a:r>
              <a:rPr lang="en-US" sz="1800" b="1" baseline="0"/>
              <a:t> in passenger volumes, by region</a:t>
            </a:r>
          </a:p>
        </c:rich>
      </c:tx>
      <c:layout>
        <c:manualLayout>
          <c:xMode val="edge"/>
          <c:yMode val="edge"/>
          <c:x val="0.33218451443569558"/>
          <c:y val="1.85680291937761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9992841159784654E-2"/>
          <c:y val="0.31393631778647996"/>
          <c:w val="0.8875147527934254"/>
          <c:h val="0.585796302534375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2021 vs 2019'!$C$182</c:f>
              <c:strCache>
                <c:ptCount val="1"/>
                <c:pt idx="0">
                  <c:v>RPK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E4-4383-A7B5-DCA82D95E6B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E4-4383-A7B5-DCA82D95E6B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E4-4383-A7B5-DCA82D95E6B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3E4-4383-A7B5-DCA82D95E6B1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021 vs 2019'!$D$181:$J$181</c:f>
              <c:strCache>
                <c:ptCount val="7"/>
                <c:pt idx="0">
                  <c:v>ASPAC</c:v>
                </c:pt>
                <c:pt idx="1">
                  <c:v>Africa</c:v>
                </c:pt>
                <c:pt idx="2">
                  <c:v>ME</c:v>
                </c:pt>
                <c:pt idx="3">
                  <c:v>Europe</c:v>
                </c:pt>
                <c:pt idx="4">
                  <c:v>Nth.Am</c:v>
                </c:pt>
                <c:pt idx="5">
                  <c:v>Lat.Am</c:v>
                </c:pt>
                <c:pt idx="6">
                  <c:v>Industry</c:v>
                </c:pt>
              </c:strCache>
            </c:strRef>
          </c:cat>
          <c:val>
            <c:numRef>
              <c:f>'2021 vs 2019'!$D$182:$J$182</c:f>
              <c:numCache>
                <c:formatCode>0%</c:formatCode>
                <c:ptCount val="7"/>
                <c:pt idx="0">
                  <c:v>-0.67391241854361761</c:v>
                </c:pt>
                <c:pt idx="1">
                  <c:v>-0.5856279311373731</c:v>
                </c:pt>
                <c:pt idx="2">
                  <c:v>-0.53929699234831485</c:v>
                </c:pt>
                <c:pt idx="3">
                  <c:v>-0.42451357390070554</c:v>
                </c:pt>
                <c:pt idx="4">
                  <c:v>-0.2945606306140689</c:v>
                </c:pt>
                <c:pt idx="5">
                  <c:v>-0.26153336085377488</c:v>
                </c:pt>
                <c:pt idx="6">
                  <c:v>-0.49588573028351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3E4-4383-A7B5-DCA82D95E6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2"/>
        <c:overlap val="-27"/>
        <c:axId val="145137607"/>
        <c:axId val="145138919"/>
      </c:barChart>
      <c:catAx>
        <c:axId val="145137607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high"/>
        <c:spPr>
          <a:noFill/>
          <a:ln w="9525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138919"/>
        <c:crosses val="autoZero"/>
        <c:auto val="1"/>
        <c:lblAlgn val="ctr"/>
        <c:lblOffset val="100"/>
        <c:noMultiLvlLbl val="0"/>
      </c:catAx>
      <c:valAx>
        <c:axId val="14513891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5137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80" b="1" dirty="0">
                <a:solidFill>
                  <a:schemeClr val="tx1"/>
                </a:solidFill>
              </a:rPr>
              <a:t>Global Google</a:t>
            </a:r>
            <a:r>
              <a:rPr lang="en-US" sz="1680" b="1" baseline="0" dirty="0">
                <a:solidFill>
                  <a:schemeClr val="tx1"/>
                </a:solidFill>
              </a:rPr>
              <a:t> Search</a:t>
            </a:r>
            <a:endParaRPr lang="en-US" sz="168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867804024496937E-2"/>
          <c:y val="0.16021041398146818"/>
          <c:w val="0.92957821522309714"/>
          <c:h val="0.69829008184119545"/>
        </c:manualLayout>
      </c:layout>
      <c:lineChart>
        <c:grouping val="standard"/>
        <c:varyColors val="0"/>
        <c:ser>
          <c:idx val="0"/>
          <c:order val="0"/>
          <c:tx>
            <c:strRef>
              <c:f>'multiTimeline (3)'!$B$3</c:f>
              <c:strCache>
                <c:ptCount val="1"/>
                <c:pt idx="0">
                  <c:v>COVID: (Worldwide)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ultiTimeline (3)'!$A$4:$A$65</c:f>
              <c:numCache>
                <c:formatCode>m/d/yyyy</c:formatCode>
                <c:ptCount val="62"/>
                <c:pt idx="0">
                  <c:v>44199</c:v>
                </c:pt>
                <c:pt idx="1">
                  <c:v>44206</c:v>
                </c:pt>
                <c:pt idx="2">
                  <c:v>44213</c:v>
                </c:pt>
                <c:pt idx="3">
                  <c:v>44220</c:v>
                </c:pt>
                <c:pt idx="4">
                  <c:v>44227</c:v>
                </c:pt>
                <c:pt idx="5">
                  <c:v>44234</c:v>
                </c:pt>
                <c:pt idx="6">
                  <c:v>44241</c:v>
                </c:pt>
                <c:pt idx="7">
                  <c:v>44248</c:v>
                </c:pt>
                <c:pt idx="8">
                  <c:v>44255</c:v>
                </c:pt>
                <c:pt idx="9">
                  <c:v>44262</c:v>
                </c:pt>
                <c:pt idx="10">
                  <c:v>44269</c:v>
                </c:pt>
                <c:pt idx="11">
                  <c:v>44276</c:v>
                </c:pt>
                <c:pt idx="12">
                  <c:v>44283</c:v>
                </c:pt>
                <c:pt idx="13">
                  <c:v>44290</c:v>
                </c:pt>
                <c:pt idx="14">
                  <c:v>44297</c:v>
                </c:pt>
                <c:pt idx="15">
                  <c:v>44304</c:v>
                </c:pt>
                <c:pt idx="16">
                  <c:v>44311</c:v>
                </c:pt>
                <c:pt idx="17">
                  <c:v>44318</c:v>
                </c:pt>
                <c:pt idx="18">
                  <c:v>44325</c:v>
                </c:pt>
                <c:pt idx="19">
                  <c:v>44332</c:v>
                </c:pt>
                <c:pt idx="20">
                  <c:v>44339</c:v>
                </c:pt>
                <c:pt idx="21">
                  <c:v>44346</c:v>
                </c:pt>
                <c:pt idx="22">
                  <c:v>44353</c:v>
                </c:pt>
                <c:pt idx="23">
                  <c:v>44360</c:v>
                </c:pt>
                <c:pt idx="24">
                  <c:v>44367</c:v>
                </c:pt>
                <c:pt idx="25">
                  <c:v>44374</c:v>
                </c:pt>
                <c:pt idx="26">
                  <c:v>44381</c:v>
                </c:pt>
                <c:pt idx="27">
                  <c:v>44388</c:v>
                </c:pt>
                <c:pt idx="28">
                  <c:v>44395</c:v>
                </c:pt>
                <c:pt idx="29">
                  <c:v>44402</c:v>
                </c:pt>
                <c:pt idx="30">
                  <c:v>44409</c:v>
                </c:pt>
                <c:pt idx="31">
                  <c:v>44416</c:v>
                </c:pt>
                <c:pt idx="32">
                  <c:v>44423</c:v>
                </c:pt>
                <c:pt idx="33">
                  <c:v>44430</c:v>
                </c:pt>
                <c:pt idx="34">
                  <c:v>44437</c:v>
                </c:pt>
                <c:pt idx="35">
                  <c:v>44444</c:v>
                </c:pt>
                <c:pt idx="36">
                  <c:v>44451</c:v>
                </c:pt>
                <c:pt idx="37">
                  <c:v>44458</c:v>
                </c:pt>
                <c:pt idx="38">
                  <c:v>44465</c:v>
                </c:pt>
                <c:pt idx="39">
                  <c:v>44472</c:v>
                </c:pt>
                <c:pt idx="40">
                  <c:v>44479</c:v>
                </c:pt>
                <c:pt idx="41">
                  <c:v>44486</c:v>
                </c:pt>
                <c:pt idx="42">
                  <c:v>44493</c:v>
                </c:pt>
                <c:pt idx="43">
                  <c:v>44500</c:v>
                </c:pt>
                <c:pt idx="44">
                  <c:v>44507</c:v>
                </c:pt>
                <c:pt idx="45">
                  <c:v>44514</c:v>
                </c:pt>
                <c:pt idx="46">
                  <c:v>44521</c:v>
                </c:pt>
                <c:pt idx="47">
                  <c:v>44528</c:v>
                </c:pt>
                <c:pt idx="48">
                  <c:v>44535</c:v>
                </c:pt>
                <c:pt idx="49">
                  <c:v>44542</c:v>
                </c:pt>
                <c:pt idx="50">
                  <c:v>44549</c:v>
                </c:pt>
                <c:pt idx="51">
                  <c:v>44556</c:v>
                </c:pt>
                <c:pt idx="52">
                  <c:v>44563</c:v>
                </c:pt>
                <c:pt idx="53">
                  <c:v>44570</c:v>
                </c:pt>
                <c:pt idx="54">
                  <c:v>44577</c:v>
                </c:pt>
                <c:pt idx="55">
                  <c:v>44584</c:v>
                </c:pt>
                <c:pt idx="56">
                  <c:v>44591</c:v>
                </c:pt>
                <c:pt idx="57">
                  <c:v>44598</c:v>
                </c:pt>
                <c:pt idx="58">
                  <c:v>44605</c:v>
                </c:pt>
                <c:pt idx="59">
                  <c:v>44612</c:v>
                </c:pt>
                <c:pt idx="60">
                  <c:v>44619</c:v>
                </c:pt>
              </c:numCache>
            </c:numRef>
          </c:cat>
          <c:val>
            <c:numRef>
              <c:f>'multiTimeline (3)'!$B$4:$B$65</c:f>
              <c:numCache>
                <c:formatCode>General</c:formatCode>
                <c:ptCount val="62"/>
                <c:pt idx="0">
                  <c:v>64</c:v>
                </c:pt>
                <c:pt idx="1">
                  <c:v>63</c:v>
                </c:pt>
                <c:pt idx="2">
                  <c:v>59</c:v>
                </c:pt>
                <c:pt idx="3">
                  <c:v>57</c:v>
                </c:pt>
                <c:pt idx="4">
                  <c:v>54</c:v>
                </c:pt>
                <c:pt idx="5">
                  <c:v>50</c:v>
                </c:pt>
                <c:pt idx="6">
                  <c:v>47</c:v>
                </c:pt>
                <c:pt idx="7">
                  <c:v>50</c:v>
                </c:pt>
                <c:pt idx="8">
                  <c:v>56</c:v>
                </c:pt>
                <c:pt idx="9">
                  <c:v>57</c:v>
                </c:pt>
                <c:pt idx="10">
                  <c:v>58</c:v>
                </c:pt>
                <c:pt idx="11">
                  <c:v>60</c:v>
                </c:pt>
                <c:pt idx="12">
                  <c:v>64</c:v>
                </c:pt>
                <c:pt idx="13">
                  <c:v>64</c:v>
                </c:pt>
                <c:pt idx="14">
                  <c:v>62</c:v>
                </c:pt>
                <c:pt idx="15">
                  <c:v>61</c:v>
                </c:pt>
                <c:pt idx="16">
                  <c:v>67</c:v>
                </c:pt>
                <c:pt idx="17">
                  <c:v>60</c:v>
                </c:pt>
                <c:pt idx="18">
                  <c:v>60</c:v>
                </c:pt>
                <c:pt idx="19">
                  <c:v>56</c:v>
                </c:pt>
                <c:pt idx="20">
                  <c:v>54</c:v>
                </c:pt>
                <c:pt idx="21">
                  <c:v>57</c:v>
                </c:pt>
                <c:pt idx="22">
                  <c:v>49</c:v>
                </c:pt>
                <c:pt idx="23">
                  <c:v>48</c:v>
                </c:pt>
                <c:pt idx="24">
                  <c:v>56</c:v>
                </c:pt>
                <c:pt idx="25">
                  <c:v>52</c:v>
                </c:pt>
                <c:pt idx="26">
                  <c:v>54</c:v>
                </c:pt>
                <c:pt idx="27">
                  <c:v>60</c:v>
                </c:pt>
                <c:pt idx="28">
                  <c:v>65</c:v>
                </c:pt>
                <c:pt idx="29">
                  <c:v>66</c:v>
                </c:pt>
                <c:pt idx="30">
                  <c:v>70</c:v>
                </c:pt>
                <c:pt idx="31">
                  <c:v>65</c:v>
                </c:pt>
                <c:pt idx="32">
                  <c:v>65</c:v>
                </c:pt>
                <c:pt idx="33">
                  <c:v>62</c:v>
                </c:pt>
                <c:pt idx="34">
                  <c:v>60</c:v>
                </c:pt>
                <c:pt idx="35">
                  <c:v>51</c:v>
                </c:pt>
                <c:pt idx="36">
                  <c:v>51</c:v>
                </c:pt>
                <c:pt idx="37">
                  <c:v>43</c:v>
                </c:pt>
                <c:pt idx="38">
                  <c:v>43</c:v>
                </c:pt>
                <c:pt idx="39">
                  <c:v>40</c:v>
                </c:pt>
                <c:pt idx="40">
                  <c:v>39</c:v>
                </c:pt>
                <c:pt idx="41">
                  <c:v>39</c:v>
                </c:pt>
                <c:pt idx="42">
                  <c:v>36</c:v>
                </c:pt>
                <c:pt idx="43">
                  <c:v>37</c:v>
                </c:pt>
                <c:pt idx="44">
                  <c:v>39</c:v>
                </c:pt>
                <c:pt idx="45">
                  <c:v>42</c:v>
                </c:pt>
                <c:pt idx="46">
                  <c:v>46</c:v>
                </c:pt>
                <c:pt idx="47">
                  <c:v>50</c:v>
                </c:pt>
                <c:pt idx="48">
                  <c:v>47</c:v>
                </c:pt>
                <c:pt idx="49">
                  <c:v>67</c:v>
                </c:pt>
                <c:pt idx="50">
                  <c:v>75</c:v>
                </c:pt>
                <c:pt idx="51">
                  <c:v>92</c:v>
                </c:pt>
                <c:pt idx="52">
                  <c:v>100</c:v>
                </c:pt>
                <c:pt idx="53">
                  <c:v>85</c:v>
                </c:pt>
                <c:pt idx="54">
                  <c:v>90</c:v>
                </c:pt>
                <c:pt idx="55">
                  <c:v>55</c:v>
                </c:pt>
                <c:pt idx="56">
                  <c:v>45</c:v>
                </c:pt>
                <c:pt idx="57">
                  <c:v>36</c:v>
                </c:pt>
                <c:pt idx="58">
                  <c:v>32</c:v>
                </c:pt>
                <c:pt idx="59">
                  <c:v>29</c:v>
                </c:pt>
                <c:pt idx="60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46-44E4-858D-28285C2B1E96}"/>
            </c:ext>
          </c:extLst>
        </c:ser>
        <c:ser>
          <c:idx val="1"/>
          <c:order val="1"/>
          <c:tx>
            <c:strRef>
              <c:f>'multiTimeline (3)'!$C$3</c:f>
              <c:strCache>
                <c:ptCount val="1"/>
                <c:pt idx="0">
                  <c:v>War: (Worldwide)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ultiTimeline (3)'!$A$4:$A$65</c:f>
              <c:numCache>
                <c:formatCode>m/d/yyyy</c:formatCode>
                <c:ptCount val="62"/>
                <c:pt idx="0">
                  <c:v>44199</c:v>
                </c:pt>
                <c:pt idx="1">
                  <c:v>44206</c:v>
                </c:pt>
                <c:pt idx="2">
                  <c:v>44213</c:v>
                </c:pt>
                <c:pt idx="3">
                  <c:v>44220</c:v>
                </c:pt>
                <c:pt idx="4">
                  <c:v>44227</c:v>
                </c:pt>
                <c:pt idx="5">
                  <c:v>44234</c:v>
                </c:pt>
                <c:pt idx="6">
                  <c:v>44241</c:v>
                </c:pt>
                <c:pt idx="7">
                  <c:v>44248</c:v>
                </c:pt>
                <c:pt idx="8">
                  <c:v>44255</c:v>
                </c:pt>
                <c:pt idx="9">
                  <c:v>44262</c:v>
                </c:pt>
                <c:pt idx="10">
                  <c:v>44269</c:v>
                </c:pt>
                <c:pt idx="11">
                  <c:v>44276</c:v>
                </c:pt>
                <c:pt idx="12">
                  <c:v>44283</c:v>
                </c:pt>
                <c:pt idx="13">
                  <c:v>44290</c:v>
                </c:pt>
                <c:pt idx="14">
                  <c:v>44297</c:v>
                </c:pt>
                <c:pt idx="15">
                  <c:v>44304</c:v>
                </c:pt>
                <c:pt idx="16">
                  <c:v>44311</c:v>
                </c:pt>
                <c:pt idx="17">
                  <c:v>44318</c:v>
                </c:pt>
                <c:pt idx="18">
                  <c:v>44325</c:v>
                </c:pt>
                <c:pt idx="19">
                  <c:v>44332</c:v>
                </c:pt>
                <c:pt idx="20">
                  <c:v>44339</c:v>
                </c:pt>
                <c:pt idx="21">
                  <c:v>44346</c:v>
                </c:pt>
                <c:pt idx="22">
                  <c:v>44353</c:v>
                </c:pt>
                <c:pt idx="23">
                  <c:v>44360</c:v>
                </c:pt>
                <c:pt idx="24">
                  <c:v>44367</c:v>
                </c:pt>
                <c:pt idx="25">
                  <c:v>44374</c:v>
                </c:pt>
                <c:pt idx="26">
                  <c:v>44381</c:v>
                </c:pt>
                <c:pt idx="27">
                  <c:v>44388</c:v>
                </c:pt>
                <c:pt idx="28">
                  <c:v>44395</c:v>
                </c:pt>
                <c:pt idx="29">
                  <c:v>44402</c:v>
                </c:pt>
                <c:pt idx="30">
                  <c:v>44409</c:v>
                </c:pt>
                <c:pt idx="31">
                  <c:v>44416</c:v>
                </c:pt>
                <c:pt idx="32">
                  <c:v>44423</c:v>
                </c:pt>
                <c:pt idx="33">
                  <c:v>44430</c:v>
                </c:pt>
                <c:pt idx="34">
                  <c:v>44437</c:v>
                </c:pt>
                <c:pt idx="35">
                  <c:v>44444</c:v>
                </c:pt>
                <c:pt idx="36">
                  <c:v>44451</c:v>
                </c:pt>
                <c:pt idx="37">
                  <c:v>44458</c:v>
                </c:pt>
                <c:pt idx="38">
                  <c:v>44465</c:v>
                </c:pt>
                <c:pt idx="39">
                  <c:v>44472</c:v>
                </c:pt>
                <c:pt idx="40">
                  <c:v>44479</c:v>
                </c:pt>
                <c:pt idx="41">
                  <c:v>44486</c:v>
                </c:pt>
                <c:pt idx="42">
                  <c:v>44493</c:v>
                </c:pt>
                <c:pt idx="43">
                  <c:v>44500</c:v>
                </c:pt>
                <c:pt idx="44">
                  <c:v>44507</c:v>
                </c:pt>
                <c:pt idx="45">
                  <c:v>44514</c:v>
                </c:pt>
                <c:pt idx="46">
                  <c:v>44521</c:v>
                </c:pt>
                <c:pt idx="47">
                  <c:v>44528</c:v>
                </c:pt>
                <c:pt idx="48">
                  <c:v>44535</c:v>
                </c:pt>
                <c:pt idx="49">
                  <c:v>44542</c:v>
                </c:pt>
                <c:pt idx="50">
                  <c:v>44549</c:v>
                </c:pt>
                <c:pt idx="51">
                  <c:v>44556</c:v>
                </c:pt>
                <c:pt idx="52">
                  <c:v>44563</c:v>
                </c:pt>
                <c:pt idx="53">
                  <c:v>44570</c:v>
                </c:pt>
                <c:pt idx="54">
                  <c:v>44577</c:v>
                </c:pt>
                <c:pt idx="55">
                  <c:v>44584</c:v>
                </c:pt>
                <c:pt idx="56">
                  <c:v>44591</c:v>
                </c:pt>
                <c:pt idx="57">
                  <c:v>44598</c:v>
                </c:pt>
                <c:pt idx="58">
                  <c:v>44605</c:v>
                </c:pt>
                <c:pt idx="59">
                  <c:v>44612</c:v>
                </c:pt>
                <c:pt idx="60">
                  <c:v>44619</c:v>
                </c:pt>
              </c:numCache>
            </c:numRef>
          </c:cat>
          <c:val>
            <c:numRef>
              <c:f>'multiTimeline (3)'!$C$4:$C$65</c:f>
              <c:numCache>
                <c:formatCode>General</c:formatCode>
                <c:ptCount val="62"/>
                <c:pt idx="0">
                  <c:v>46</c:v>
                </c:pt>
                <c:pt idx="1">
                  <c:v>44</c:v>
                </c:pt>
                <c:pt idx="2">
                  <c:v>46</c:v>
                </c:pt>
                <c:pt idx="3">
                  <c:v>42</c:v>
                </c:pt>
                <c:pt idx="4">
                  <c:v>43</c:v>
                </c:pt>
                <c:pt idx="5">
                  <c:v>42</c:v>
                </c:pt>
                <c:pt idx="6">
                  <c:v>41</c:v>
                </c:pt>
                <c:pt idx="7">
                  <c:v>43</c:v>
                </c:pt>
                <c:pt idx="8">
                  <c:v>43</c:v>
                </c:pt>
                <c:pt idx="9">
                  <c:v>39</c:v>
                </c:pt>
                <c:pt idx="10">
                  <c:v>38</c:v>
                </c:pt>
                <c:pt idx="11">
                  <c:v>38</c:v>
                </c:pt>
                <c:pt idx="12">
                  <c:v>37</c:v>
                </c:pt>
                <c:pt idx="13">
                  <c:v>38</c:v>
                </c:pt>
                <c:pt idx="14">
                  <c:v>38</c:v>
                </c:pt>
                <c:pt idx="15">
                  <c:v>40</c:v>
                </c:pt>
                <c:pt idx="16">
                  <c:v>40</c:v>
                </c:pt>
                <c:pt idx="17">
                  <c:v>39</c:v>
                </c:pt>
                <c:pt idx="18">
                  <c:v>40</c:v>
                </c:pt>
                <c:pt idx="19">
                  <c:v>41</c:v>
                </c:pt>
                <c:pt idx="20">
                  <c:v>38</c:v>
                </c:pt>
                <c:pt idx="21">
                  <c:v>38</c:v>
                </c:pt>
                <c:pt idx="22">
                  <c:v>33</c:v>
                </c:pt>
                <c:pt idx="23">
                  <c:v>33</c:v>
                </c:pt>
                <c:pt idx="24">
                  <c:v>32</c:v>
                </c:pt>
                <c:pt idx="25">
                  <c:v>40</c:v>
                </c:pt>
                <c:pt idx="26">
                  <c:v>47</c:v>
                </c:pt>
                <c:pt idx="27">
                  <c:v>39</c:v>
                </c:pt>
                <c:pt idx="28">
                  <c:v>38</c:v>
                </c:pt>
                <c:pt idx="29">
                  <c:v>35</c:v>
                </c:pt>
                <c:pt idx="30">
                  <c:v>32</c:v>
                </c:pt>
                <c:pt idx="31">
                  <c:v>34</c:v>
                </c:pt>
                <c:pt idx="32">
                  <c:v>41</c:v>
                </c:pt>
                <c:pt idx="33">
                  <c:v>35</c:v>
                </c:pt>
                <c:pt idx="34">
                  <c:v>34</c:v>
                </c:pt>
                <c:pt idx="35">
                  <c:v>36</c:v>
                </c:pt>
                <c:pt idx="36">
                  <c:v>35</c:v>
                </c:pt>
                <c:pt idx="37">
                  <c:v>34</c:v>
                </c:pt>
                <c:pt idx="38">
                  <c:v>33</c:v>
                </c:pt>
                <c:pt idx="39">
                  <c:v>33</c:v>
                </c:pt>
                <c:pt idx="40">
                  <c:v>32</c:v>
                </c:pt>
                <c:pt idx="41">
                  <c:v>33</c:v>
                </c:pt>
                <c:pt idx="42">
                  <c:v>33</c:v>
                </c:pt>
                <c:pt idx="43">
                  <c:v>32</c:v>
                </c:pt>
                <c:pt idx="44">
                  <c:v>34</c:v>
                </c:pt>
                <c:pt idx="45">
                  <c:v>32</c:v>
                </c:pt>
                <c:pt idx="46">
                  <c:v>31</c:v>
                </c:pt>
                <c:pt idx="47">
                  <c:v>32</c:v>
                </c:pt>
                <c:pt idx="48">
                  <c:v>34</c:v>
                </c:pt>
                <c:pt idx="49">
                  <c:v>33</c:v>
                </c:pt>
                <c:pt idx="50">
                  <c:v>32</c:v>
                </c:pt>
                <c:pt idx="51">
                  <c:v>34</c:v>
                </c:pt>
                <c:pt idx="52">
                  <c:v>36</c:v>
                </c:pt>
                <c:pt idx="53">
                  <c:v>36</c:v>
                </c:pt>
                <c:pt idx="54">
                  <c:v>41</c:v>
                </c:pt>
                <c:pt idx="55">
                  <c:v>44</c:v>
                </c:pt>
                <c:pt idx="56">
                  <c:v>38</c:v>
                </c:pt>
                <c:pt idx="57">
                  <c:v>38</c:v>
                </c:pt>
                <c:pt idx="58">
                  <c:v>40</c:v>
                </c:pt>
                <c:pt idx="59">
                  <c:v>100</c:v>
                </c:pt>
                <c:pt idx="60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46-44E4-858D-28285C2B1E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41792784"/>
        <c:axId val="2141793440"/>
      </c:lineChart>
      <c:dateAx>
        <c:axId val="2141792784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1793440"/>
        <c:crosses val="autoZero"/>
        <c:auto val="1"/>
        <c:lblOffset val="100"/>
        <c:baseTimeUnit val="days"/>
      </c:dateAx>
      <c:valAx>
        <c:axId val="2141793440"/>
        <c:scaling>
          <c:orientation val="minMax"/>
          <c:max val="101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1792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20284917931246E-3"/>
          <c:y val="2.9748283752860413E-2"/>
          <c:w val="0.9838959430164137"/>
          <c:h val="0.940503432494279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-145.19626062961086</c:v>
                </c:pt>
                <c:pt idx="1">
                  <c:v>-112.28347841378704</c:v>
                </c:pt>
                <c:pt idx="2">
                  <c:v>-51.747937601300876</c:v>
                </c:pt>
                <c:pt idx="3">
                  <c:v>-41.942588827572855</c:v>
                </c:pt>
                <c:pt idx="4">
                  <c:v>-33.546333582503443</c:v>
                </c:pt>
                <c:pt idx="5">
                  <c:v>-31.44688501524271</c:v>
                </c:pt>
                <c:pt idx="6">
                  <c:v>-31.332369696454386</c:v>
                </c:pt>
                <c:pt idx="7">
                  <c:v>-31.009201217053405</c:v>
                </c:pt>
                <c:pt idx="8">
                  <c:v>-27.485781900072524</c:v>
                </c:pt>
                <c:pt idx="9">
                  <c:v>-27.231167398544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C7-46BF-A2B6-9F0DC5ECC9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8883840"/>
        <c:axId val="1"/>
      </c:barChart>
      <c:catAx>
        <c:axId val="958883840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145.19626062961086"/>
        </c:scaling>
        <c:delete val="1"/>
        <c:axPos val="l"/>
        <c:numFmt formatCode="General" sourceLinked="1"/>
        <c:majorTickMark val="out"/>
        <c:minorTickMark val="none"/>
        <c:tickLblPos val="nextTo"/>
        <c:crossAx val="9588838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GB 2019-YTD'!$B$3</c:f>
              <c:strCache>
                <c:ptCount val="1"/>
                <c:pt idx="0">
                  <c:v>Gross Sales (M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GB 2019-YTD'!$A$4:$A$42</c:f>
              <c:numCache>
                <c:formatCode>mmm\-yy</c:formatCode>
                <c:ptCount val="39"/>
                <c:pt idx="0">
                  <c:v>43466</c:v>
                </c:pt>
                <c:pt idx="1">
                  <c:v>43497</c:v>
                </c:pt>
                <c:pt idx="2">
                  <c:v>43525</c:v>
                </c:pt>
                <c:pt idx="3">
                  <c:v>43556</c:v>
                </c:pt>
                <c:pt idx="4">
                  <c:v>43586</c:v>
                </c:pt>
                <c:pt idx="5">
                  <c:v>43617</c:v>
                </c:pt>
                <c:pt idx="6">
                  <c:v>43647</c:v>
                </c:pt>
                <c:pt idx="7">
                  <c:v>43678</c:v>
                </c:pt>
                <c:pt idx="8">
                  <c:v>43709</c:v>
                </c:pt>
                <c:pt idx="9">
                  <c:v>43739</c:v>
                </c:pt>
                <c:pt idx="10">
                  <c:v>43770</c:v>
                </c:pt>
                <c:pt idx="11">
                  <c:v>43800</c:v>
                </c:pt>
                <c:pt idx="12">
                  <c:v>43831</c:v>
                </c:pt>
                <c:pt idx="13">
                  <c:v>43862</c:v>
                </c:pt>
                <c:pt idx="14">
                  <c:v>43891</c:v>
                </c:pt>
                <c:pt idx="15">
                  <c:v>43922</c:v>
                </c:pt>
                <c:pt idx="16">
                  <c:v>43952</c:v>
                </c:pt>
                <c:pt idx="17">
                  <c:v>43983</c:v>
                </c:pt>
                <c:pt idx="18">
                  <c:v>44013</c:v>
                </c:pt>
                <c:pt idx="19">
                  <c:v>44044</c:v>
                </c:pt>
                <c:pt idx="20">
                  <c:v>44075</c:v>
                </c:pt>
                <c:pt idx="21">
                  <c:v>44105</c:v>
                </c:pt>
                <c:pt idx="22">
                  <c:v>44136</c:v>
                </c:pt>
                <c:pt idx="23">
                  <c:v>44166</c:v>
                </c:pt>
                <c:pt idx="24">
                  <c:v>44197</c:v>
                </c:pt>
                <c:pt idx="25">
                  <c:v>44228</c:v>
                </c:pt>
                <c:pt idx="26">
                  <c:v>44256</c:v>
                </c:pt>
                <c:pt idx="27">
                  <c:v>44287</c:v>
                </c:pt>
                <c:pt idx="28">
                  <c:v>44317</c:v>
                </c:pt>
                <c:pt idx="29">
                  <c:v>44348</c:v>
                </c:pt>
                <c:pt idx="30">
                  <c:v>44378</c:v>
                </c:pt>
                <c:pt idx="31">
                  <c:v>44409</c:v>
                </c:pt>
                <c:pt idx="32">
                  <c:v>44440</c:v>
                </c:pt>
                <c:pt idx="33">
                  <c:v>44470</c:v>
                </c:pt>
                <c:pt idx="34">
                  <c:v>44501</c:v>
                </c:pt>
                <c:pt idx="35">
                  <c:v>44531</c:v>
                </c:pt>
                <c:pt idx="36">
                  <c:v>44562</c:v>
                </c:pt>
                <c:pt idx="37">
                  <c:v>44593</c:v>
                </c:pt>
                <c:pt idx="38">
                  <c:v>44621</c:v>
                </c:pt>
              </c:numCache>
            </c:numRef>
          </c:cat>
          <c:val>
            <c:numRef>
              <c:f>'GB 2019-YTD'!$B$4:$B$42</c:f>
              <c:numCache>
                <c:formatCode>General</c:formatCode>
                <c:ptCount val="39"/>
                <c:pt idx="0" formatCode="#,##0.00">
                  <c:v>1181.6300000000001</c:v>
                </c:pt>
                <c:pt idx="1">
                  <c:v>996.73</c:v>
                </c:pt>
                <c:pt idx="2" formatCode="#,##0.00">
                  <c:v>1054.56</c:v>
                </c:pt>
                <c:pt idx="3">
                  <c:v>947.94</c:v>
                </c:pt>
                <c:pt idx="4" formatCode="#,##0.00">
                  <c:v>1043.3499999999999</c:v>
                </c:pt>
                <c:pt idx="5">
                  <c:v>958.09</c:v>
                </c:pt>
                <c:pt idx="6" formatCode="#,##0.00">
                  <c:v>1016.57</c:v>
                </c:pt>
                <c:pt idx="7">
                  <c:v>961.8</c:v>
                </c:pt>
                <c:pt idx="8" formatCode="#,##0.00">
                  <c:v>1075.5899999999999</c:v>
                </c:pt>
                <c:pt idx="9" formatCode="#,##0.00">
                  <c:v>1089.3900000000001</c:v>
                </c:pt>
                <c:pt idx="10">
                  <c:v>931.33</c:v>
                </c:pt>
                <c:pt idx="11">
                  <c:v>745.66</c:v>
                </c:pt>
                <c:pt idx="12" formatCode="#,##0.00">
                  <c:v>1199.72</c:v>
                </c:pt>
                <c:pt idx="13">
                  <c:v>825.9</c:v>
                </c:pt>
                <c:pt idx="14">
                  <c:v>98.66</c:v>
                </c:pt>
                <c:pt idx="15">
                  <c:v>-107.16</c:v>
                </c:pt>
                <c:pt idx="16">
                  <c:v>-69.55</c:v>
                </c:pt>
                <c:pt idx="17">
                  <c:v>-81.02</c:v>
                </c:pt>
                <c:pt idx="18">
                  <c:v>-72.45</c:v>
                </c:pt>
                <c:pt idx="19">
                  <c:v>-56.84</c:v>
                </c:pt>
                <c:pt idx="20">
                  <c:v>-33.049999999999997</c:v>
                </c:pt>
                <c:pt idx="21">
                  <c:v>21.06</c:v>
                </c:pt>
                <c:pt idx="22">
                  <c:v>67.180000000000007</c:v>
                </c:pt>
                <c:pt idx="23">
                  <c:v>90.41</c:v>
                </c:pt>
                <c:pt idx="24">
                  <c:v>38.83</c:v>
                </c:pt>
                <c:pt idx="25">
                  <c:v>45.93</c:v>
                </c:pt>
                <c:pt idx="26">
                  <c:v>73.38</c:v>
                </c:pt>
                <c:pt idx="27">
                  <c:v>67.760000000000005</c:v>
                </c:pt>
                <c:pt idx="28">
                  <c:v>80.05</c:v>
                </c:pt>
                <c:pt idx="29">
                  <c:v>110.94</c:v>
                </c:pt>
                <c:pt idx="30">
                  <c:v>131.94999999999999</c:v>
                </c:pt>
                <c:pt idx="31">
                  <c:v>179.99</c:v>
                </c:pt>
                <c:pt idx="32">
                  <c:v>301.23</c:v>
                </c:pt>
                <c:pt idx="33">
                  <c:v>461.26</c:v>
                </c:pt>
                <c:pt idx="34">
                  <c:v>528.41</c:v>
                </c:pt>
                <c:pt idx="35">
                  <c:v>249.49</c:v>
                </c:pt>
                <c:pt idx="36" formatCode="0.00">
                  <c:v>459.3</c:v>
                </c:pt>
                <c:pt idx="37">
                  <c:v>652.82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79D-4FC8-9C59-732338EC9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4246896"/>
        <c:axId val="864247880"/>
      </c:lineChart>
      <c:dateAx>
        <c:axId val="86424689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247880"/>
        <c:crosses val="autoZero"/>
        <c:auto val="1"/>
        <c:lblOffset val="100"/>
        <c:baseTimeUnit val="months"/>
      </c:dateAx>
      <c:valAx>
        <c:axId val="864247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lions</a:t>
                </a:r>
                <a:r>
                  <a:rPr lang="en-US" baseline="0"/>
                  <a:t> GBP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246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765504624233657E-2"/>
          <c:y val="0.13133333333333333"/>
          <c:w val="0.92232081320116766"/>
          <c:h val="0.65803042943364343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337568"/>
        <c:axId val="20633789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GB 2018-2021'!$B$1</c15:sqref>
                        </c15:formulaRef>
                      </c:ext>
                    </c:extLst>
                    <c:strCache>
                      <c:ptCount val="1"/>
                      <c:pt idx="0">
                        <c:v>Gross Sales (M)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GB 2018-2021'!$A$2:$A$51</c15:sqref>
                        </c15:formulaRef>
                      </c:ext>
                    </c:extLst>
                    <c:numCache>
                      <c:formatCode>mmm\-yy</c:formatCode>
                      <c:ptCount val="50"/>
                      <c:pt idx="0">
                        <c:v>43101</c:v>
                      </c:pt>
                      <c:pt idx="1">
                        <c:v>43132</c:v>
                      </c:pt>
                      <c:pt idx="2">
                        <c:v>43160</c:v>
                      </c:pt>
                      <c:pt idx="3">
                        <c:v>43191</c:v>
                      </c:pt>
                      <c:pt idx="4">
                        <c:v>43221</c:v>
                      </c:pt>
                      <c:pt idx="5">
                        <c:v>43252</c:v>
                      </c:pt>
                      <c:pt idx="6">
                        <c:v>43282</c:v>
                      </c:pt>
                      <c:pt idx="7">
                        <c:v>43313</c:v>
                      </c:pt>
                      <c:pt idx="8">
                        <c:v>43344</c:v>
                      </c:pt>
                      <c:pt idx="9">
                        <c:v>43374</c:v>
                      </c:pt>
                      <c:pt idx="10">
                        <c:v>43405</c:v>
                      </c:pt>
                      <c:pt idx="11">
                        <c:v>43435</c:v>
                      </c:pt>
                      <c:pt idx="12">
                        <c:v>43466</c:v>
                      </c:pt>
                      <c:pt idx="13">
                        <c:v>43497</c:v>
                      </c:pt>
                      <c:pt idx="14">
                        <c:v>43525</c:v>
                      </c:pt>
                      <c:pt idx="15">
                        <c:v>43556</c:v>
                      </c:pt>
                      <c:pt idx="16">
                        <c:v>43586</c:v>
                      </c:pt>
                      <c:pt idx="17">
                        <c:v>43617</c:v>
                      </c:pt>
                      <c:pt idx="18">
                        <c:v>43647</c:v>
                      </c:pt>
                      <c:pt idx="19">
                        <c:v>43678</c:v>
                      </c:pt>
                      <c:pt idx="20">
                        <c:v>43709</c:v>
                      </c:pt>
                      <c:pt idx="21">
                        <c:v>43739</c:v>
                      </c:pt>
                      <c:pt idx="22">
                        <c:v>43770</c:v>
                      </c:pt>
                      <c:pt idx="23">
                        <c:v>43800</c:v>
                      </c:pt>
                      <c:pt idx="24">
                        <c:v>43831</c:v>
                      </c:pt>
                      <c:pt idx="25">
                        <c:v>43862</c:v>
                      </c:pt>
                      <c:pt idx="26">
                        <c:v>43891</c:v>
                      </c:pt>
                      <c:pt idx="27">
                        <c:v>43922</c:v>
                      </c:pt>
                      <c:pt idx="28">
                        <c:v>43952</c:v>
                      </c:pt>
                      <c:pt idx="29">
                        <c:v>43983</c:v>
                      </c:pt>
                      <c:pt idx="30">
                        <c:v>44013</c:v>
                      </c:pt>
                      <c:pt idx="31">
                        <c:v>44044</c:v>
                      </c:pt>
                      <c:pt idx="32">
                        <c:v>44075</c:v>
                      </c:pt>
                      <c:pt idx="33">
                        <c:v>44105</c:v>
                      </c:pt>
                      <c:pt idx="34">
                        <c:v>44136</c:v>
                      </c:pt>
                      <c:pt idx="35">
                        <c:v>44166</c:v>
                      </c:pt>
                      <c:pt idx="36">
                        <c:v>44197</c:v>
                      </c:pt>
                      <c:pt idx="37">
                        <c:v>44228</c:v>
                      </c:pt>
                      <c:pt idx="38">
                        <c:v>44256</c:v>
                      </c:pt>
                      <c:pt idx="39">
                        <c:v>44287</c:v>
                      </c:pt>
                      <c:pt idx="40">
                        <c:v>44317</c:v>
                      </c:pt>
                      <c:pt idx="41">
                        <c:v>44348</c:v>
                      </c:pt>
                      <c:pt idx="42">
                        <c:v>44378</c:v>
                      </c:pt>
                      <c:pt idx="43">
                        <c:v>44409</c:v>
                      </c:pt>
                      <c:pt idx="44">
                        <c:v>44440</c:v>
                      </c:pt>
                      <c:pt idx="45">
                        <c:v>44470</c:v>
                      </c:pt>
                      <c:pt idx="46">
                        <c:v>44501</c:v>
                      </c:pt>
                      <c:pt idx="47">
                        <c:v>44531</c:v>
                      </c:pt>
                      <c:pt idx="48">
                        <c:v>44562</c:v>
                      </c:pt>
                      <c:pt idx="49">
                        <c:v>4459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GB 2018-2021'!$B$2:$B$51</c15:sqref>
                        </c15:formulaRef>
                      </c:ext>
                    </c:extLst>
                    <c:numCache>
                      <c:formatCode>#,##0.00</c:formatCode>
                      <c:ptCount val="50"/>
                      <c:pt idx="0">
                        <c:v>1200.02</c:v>
                      </c:pt>
                      <c:pt idx="1">
                        <c:v>1009.17</c:v>
                      </c:pt>
                      <c:pt idx="2">
                        <c:v>1051.18</c:v>
                      </c:pt>
                      <c:pt idx="3" formatCode="General">
                        <c:v>963.03</c:v>
                      </c:pt>
                      <c:pt idx="4">
                        <c:v>1022.05</c:v>
                      </c:pt>
                      <c:pt idx="5">
                        <c:v>1005.12</c:v>
                      </c:pt>
                      <c:pt idx="6" formatCode="General">
                        <c:v>982.24</c:v>
                      </c:pt>
                      <c:pt idx="7" formatCode="General">
                        <c:v>982.67</c:v>
                      </c:pt>
                      <c:pt idx="8">
                        <c:v>1025.07</c:v>
                      </c:pt>
                      <c:pt idx="9">
                        <c:v>1062.1400000000001</c:v>
                      </c:pt>
                      <c:pt idx="10" formatCode="General">
                        <c:v>935.6</c:v>
                      </c:pt>
                      <c:pt idx="11" formatCode="General">
                        <c:v>701.5</c:v>
                      </c:pt>
                      <c:pt idx="12">
                        <c:v>1181.6300000000001</c:v>
                      </c:pt>
                      <c:pt idx="13" formatCode="General">
                        <c:v>996.73</c:v>
                      </c:pt>
                      <c:pt idx="14">
                        <c:v>1054.56</c:v>
                      </c:pt>
                      <c:pt idx="15" formatCode="General">
                        <c:v>947.94</c:v>
                      </c:pt>
                      <c:pt idx="16">
                        <c:v>1043.3499999999999</c:v>
                      </c:pt>
                      <c:pt idx="17" formatCode="General">
                        <c:v>958.09</c:v>
                      </c:pt>
                      <c:pt idx="18">
                        <c:v>1016.57</c:v>
                      </c:pt>
                      <c:pt idx="19" formatCode="General">
                        <c:v>961.8</c:v>
                      </c:pt>
                      <c:pt idx="20">
                        <c:v>1075.5899999999999</c:v>
                      </c:pt>
                      <c:pt idx="21">
                        <c:v>1089.3900000000001</c:v>
                      </c:pt>
                      <c:pt idx="22" formatCode="General">
                        <c:v>931.33</c:v>
                      </c:pt>
                      <c:pt idx="23" formatCode="General">
                        <c:v>745.66</c:v>
                      </c:pt>
                      <c:pt idx="24">
                        <c:v>1199.72</c:v>
                      </c:pt>
                      <c:pt idx="25" formatCode="General">
                        <c:v>825.9</c:v>
                      </c:pt>
                      <c:pt idx="26" formatCode="General">
                        <c:v>98.66</c:v>
                      </c:pt>
                      <c:pt idx="27" formatCode="General">
                        <c:v>-107.16</c:v>
                      </c:pt>
                      <c:pt idx="28" formatCode="General">
                        <c:v>-69.55</c:v>
                      </c:pt>
                      <c:pt idx="29" formatCode="General">
                        <c:v>-81.02</c:v>
                      </c:pt>
                      <c:pt idx="30" formatCode="General">
                        <c:v>-72.45</c:v>
                      </c:pt>
                      <c:pt idx="31" formatCode="General">
                        <c:v>-56.84</c:v>
                      </c:pt>
                      <c:pt idx="32" formatCode="General">
                        <c:v>-33.049999999999997</c:v>
                      </c:pt>
                      <c:pt idx="33" formatCode="General">
                        <c:v>21.06</c:v>
                      </c:pt>
                      <c:pt idx="34" formatCode="General">
                        <c:v>67.180000000000007</c:v>
                      </c:pt>
                      <c:pt idx="35" formatCode="General">
                        <c:v>90.41</c:v>
                      </c:pt>
                      <c:pt idx="36" formatCode="General">
                        <c:v>38.83</c:v>
                      </c:pt>
                      <c:pt idx="37" formatCode="General">
                        <c:v>45.93</c:v>
                      </c:pt>
                      <c:pt idx="38" formatCode="General">
                        <c:v>73.38</c:v>
                      </c:pt>
                      <c:pt idx="39" formatCode="General">
                        <c:v>67.760000000000005</c:v>
                      </c:pt>
                      <c:pt idx="40" formatCode="General">
                        <c:v>80.05</c:v>
                      </c:pt>
                      <c:pt idx="41" formatCode="General">
                        <c:v>110.94</c:v>
                      </c:pt>
                      <c:pt idx="42" formatCode="General">
                        <c:v>131.94999999999999</c:v>
                      </c:pt>
                      <c:pt idx="43" formatCode="General">
                        <c:v>179.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B377-4E0C-A268-CAFA49F58F7E}"/>
                  </c:ext>
                </c:extLst>
              </c15:ser>
            </c15:filteredLineSeries>
            <c15:filteredLineSeries>
              <c15:ser>
                <c:idx val="2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8-2021'!$D$1</c15:sqref>
                        </c15:formulaRef>
                      </c:ext>
                    </c:extLst>
                    <c:strCache>
                      <c:ptCount val="1"/>
                      <c:pt idx="0">
                        <c:v>% Cash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8-2021'!$A$2:$A$51</c15:sqref>
                        </c15:formulaRef>
                      </c:ext>
                    </c:extLst>
                    <c:numCache>
                      <c:formatCode>mmm\-yy</c:formatCode>
                      <c:ptCount val="50"/>
                      <c:pt idx="0">
                        <c:v>43101</c:v>
                      </c:pt>
                      <c:pt idx="1">
                        <c:v>43132</c:v>
                      </c:pt>
                      <c:pt idx="2">
                        <c:v>43160</c:v>
                      </c:pt>
                      <c:pt idx="3">
                        <c:v>43191</c:v>
                      </c:pt>
                      <c:pt idx="4">
                        <c:v>43221</c:v>
                      </c:pt>
                      <c:pt idx="5">
                        <c:v>43252</c:v>
                      </c:pt>
                      <c:pt idx="6">
                        <c:v>43282</c:v>
                      </c:pt>
                      <c:pt idx="7">
                        <c:v>43313</c:v>
                      </c:pt>
                      <c:pt idx="8">
                        <c:v>43344</c:v>
                      </c:pt>
                      <c:pt idx="9">
                        <c:v>43374</c:v>
                      </c:pt>
                      <c:pt idx="10">
                        <c:v>43405</c:v>
                      </c:pt>
                      <c:pt idx="11">
                        <c:v>43435</c:v>
                      </c:pt>
                      <c:pt idx="12">
                        <c:v>43466</c:v>
                      </c:pt>
                      <c:pt idx="13">
                        <c:v>43497</c:v>
                      </c:pt>
                      <c:pt idx="14">
                        <c:v>43525</c:v>
                      </c:pt>
                      <c:pt idx="15">
                        <c:v>43556</c:v>
                      </c:pt>
                      <c:pt idx="16">
                        <c:v>43586</c:v>
                      </c:pt>
                      <c:pt idx="17">
                        <c:v>43617</c:v>
                      </c:pt>
                      <c:pt idx="18">
                        <c:v>43647</c:v>
                      </c:pt>
                      <c:pt idx="19">
                        <c:v>43678</c:v>
                      </c:pt>
                      <c:pt idx="20">
                        <c:v>43709</c:v>
                      </c:pt>
                      <c:pt idx="21">
                        <c:v>43739</c:v>
                      </c:pt>
                      <c:pt idx="22">
                        <c:v>43770</c:v>
                      </c:pt>
                      <c:pt idx="23">
                        <c:v>43800</c:v>
                      </c:pt>
                      <c:pt idx="24">
                        <c:v>43831</c:v>
                      </c:pt>
                      <c:pt idx="25">
                        <c:v>43862</c:v>
                      </c:pt>
                      <c:pt idx="26">
                        <c:v>43891</c:v>
                      </c:pt>
                      <c:pt idx="27">
                        <c:v>43922</c:v>
                      </c:pt>
                      <c:pt idx="28">
                        <c:v>43952</c:v>
                      </c:pt>
                      <c:pt idx="29">
                        <c:v>43983</c:v>
                      </c:pt>
                      <c:pt idx="30">
                        <c:v>44013</c:v>
                      </c:pt>
                      <c:pt idx="31">
                        <c:v>44044</c:v>
                      </c:pt>
                      <c:pt idx="32">
                        <c:v>44075</c:v>
                      </c:pt>
                      <c:pt idx="33">
                        <c:v>44105</c:v>
                      </c:pt>
                      <c:pt idx="34">
                        <c:v>44136</c:v>
                      </c:pt>
                      <c:pt idx="35">
                        <c:v>44166</c:v>
                      </c:pt>
                      <c:pt idx="36">
                        <c:v>44197</c:v>
                      </c:pt>
                      <c:pt idx="37">
                        <c:v>44228</c:v>
                      </c:pt>
                      <c:pt idx="38">
                        <c:v>44256</c:v>
                      </c:pt>
                      <c:pt idx="39">
                        <c:v>44287</c:v>
                      </c:pt>
                      <c:pt idx="40">
                        <c:v>44317</c:v>
                      </c:pt>
                      <c:pt idx="41">
                        <c:v>44348</c:v>
                      </c:pt>
                      <c:pt idx="42">
                        <c:v>44378</c:v>
                      </c:pt>
                      <c:pt idx="43">
                        <c:v>44409</c:v>
                      </c:pt>
                      <c:pt idx="44">
                        <c:v>44440</c:v>
                      </c:pt>
                      <c:pt idx="45">
                        <c:v>44470</c:v>
                      </c:pt>
                      <c:pt idx="46">
                        <c:v>44501</c:v>
                      </c:pt>
                      <c:pt idx="47">
                        <c:v>44531</c:v>
                      </c:pt>
                      <c:pt idx="48">
                        <c:v>44562</c:v>
                      </c:pt>
                      <c:pt idx="49">
                        <c:v>4459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8-2021'!$D$2:$D$51</c15:sqref>
                        </c15:formulaRef>
                      </c:ext>
                    </c:extLst>
                    <c:numCache>
                      <c:formatCode>0.00%</c:formatCode>
                      <c:ptCount val="50"/>
                      <c:pt idx="0">
                        <c:v>0.73980000000000001</c:v>
                      </c:pt>
                      <c:pt idx="1">
                        <c:v>0.73250000000000004</c:v>
                      </c:pt>
                      <c:pt idx="2">
                        <c:v>0.72309999999999997</c:v>
                      </c:pt>
                      <c:pt idx="3">
                        <c:v>0.70720000000000005</c:v>
                      </c:pt>
                      <c:pt idx="4">
                        <c:v>0.71</c:v>
                      </c:pt>
                      <c:pt idx="5">
                        <c:v>0.73209999999999997</c:v>
                      </c:pt>
                      <c:pt idx="6">
                        <c:v>0.73560000000000003</c:v>
                      </c:pt>
                      <c:pt idx="7">
                        <c:v>0.71879999999999999</c:v>
                      </c:pt>
                      <c:pt idx="8">
                        <c:v>0.70860000000000001</c:v>
                      </c:pt>
                      <c:pt idx="9">
                        <c:v>0.69940000000000002</c:v>
                      </c:pt>
                      <c:pt idx="10">
                        <c:v>0.70509999999999995</c:v>
                      </c:pt>
                      <c:pt idx="11">
                        <c:v>0.73750000000000004</c:v>
                      </c:pt>
                      <c:pt idx="12">
                        <c:v>0.71730000000000005</c:v>
                      </c:pt>
                      <c:pt idx="13">
                        <c:v>0.7127</c:v>
                      </c:pt>
                      <c:pt idx="14">
                        <c:v>0.70369999999999999</c:v>
                      </c:pt>
                      <c:pt idx="15">
                        <c:v>0.6925</c:v>
                      </c:pt>
                      <c:pt idx="16">
                        <c:v>0.69810000000000005</c:v>
                      </c:pt>
                      <c:pt idx="17">
                        <c:v>0.72119999999999995</c:v>
                      </c:pt>
                      <c:pt idx="18">
                        <c:v>0.72450000000000003</c:v>
                      </c:pt>
                      <c:pt idx="19">
                        <c:v>0.70750000000000002</c:v>
                      </c:pt>
                      <c:pt idx="20">
                        <c:v>0.70760000000000001</c:v>
                      </c:pt>
                      <c:pt idx="21">
                        <c:v>0.70440000000000003</c:v>
                      </c:pt>
                      <c:pt idx="22">
                        <c:v>0.71499999999999997</c:v>
                      </c:pt>
                      <c:pt idx="23">
                        <c:v>0.74809999999999999</c:v>
                      </c:pt>
                      <c:pt idx="24">
                        <c:v>0.72640000000000005</c:v>
                      </c:pt>
                      <c:pt idx="25">
                        <c:v>0.73360000000000003</c:v>
                      </c:pt>
                      <c:pt idx="26">
                        <c:v>0.82620000000000005</c:v>
                      </c:pt>
                      <c:pt idx="27">
                        <c:v>0.76180000000000003</c:v>
                      </c:pt>
                      <c:pt idx="28">
                        <c:v>0.8649</c:v>
                      </c:pt>
                      <c:pt idx="29">
                        <c:v>0.97740000000000005</c:v>
                      </c:pt>
                      <c:pt idx="30">
                        <c:v>1.0047999999999999</c:v>
                      </c:pt>
                      <c:pt idx="31">
                        <c:v>0.97489999999999999</c:v>
                      </c:pt>
                      <c:pt idx="32">
                        <c:v>0.99519999999999997</c:v>
                      </c:pt>
                      <c:pt idx="33">
                        <c:v>0.6008</c:v>
                      </c:pt>
                      <c:pt idx="34">
                        <c:v>0.7661</c:v>
                      </c:pt>
                      <c:pt idx="35">
                        <c:v>0.79110000000000003</c:v>
                      </c:pt>
                      <c:pt idx="36">
                        <c:v>0.73280000000000001</c:v>
                      </c:pt>
                      <c:pt idx="37">
                        <c:v>0.79530000000000001</c:v>
                      </c:pt>
                      <c:pt idx="38">
                        <c:v>0.75449999999999995</c:v>
                      </c:pt>
                      <c:pt idx="39">
                        <c:v>0.67359999999999998</c:v>
                      </c:pt>
                      <c:pt idx="40">
                        <c:v>0.68710000000000004</c:v>
                      </c:pt>
                      <c:pt idx="41">
                        <c:v>0.64749999999999996</c:v>
                      </c:pt>
                      <c:pt idx="42">
                        <c:v>0.71009999999999995</c:v>
                      </c:pt>
                      <c:pt idx="43">
                        <c:v>0.72650000000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B377-4E0C-A268-CAFA49F58F7E}"/>
                  </c:ext>
                </c:extLst>
              </c15:ser>
            </c15:filteredLineSeries>
          </c:ext>
        </c:extLst>
      </c:lineChart>
      <c:catAx>
        <c:axId val="20633756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337896"/>
        <c:crosses val="autoZero"/>
        <c:auto val="1"/>
        <c:lblAlgn val="ctr"/>
        <c:lblOffset val="100"/>
        <c:noMultiLvlLbl val="1"/>
      </c:catAx>
      <c:valAx>
        <c:axId val="206337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33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397774996417786"/>
          <c:y val="0.1880354128976526"/>
          <c:w val="0.85458172080927874"/>
          <c:h val="0.60832286126249269"/>
        </c:manualLayout>
      </c:layout>
      <c:lineChart>
        <c:grouping val="standard"/>
        <c:varyColors val="0"/>
        <c:ser>
          <c:idx val="1"/>
          <c:order val="1"/>
          <c:tx>
            <c:strRef>
              <c:f>'GB 2019-YTD'!$C$3</c:f>
              <c:strCache>
                <c:ptCount val="1"/>
                <c:pt idx="0">
                  <c:v>SCU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GB 2019-YTD'!$A$4:$A$42</c:f>
              <c:numCache>
                <c:formatCode>mmm\-yy</c:formatCode>
                <c:ptCount val="39"/>
                <c:pt idx="0">
                  <c:v>43466</c:v>
                </c:pt>
                <c:pt idx="1">
                  <c:v>43497</c:v>
                </c:pt>
                <c:pt idx="2">
                  <c:v>43525</c:v>
                </c:pt>
                <c:pt idx="3">
                  <c:v>43556</c:v>
                </c:pt>
                <c:pt idx="4">
                  <c:v>43586</c:v>
                </c:pt>
                <c:pt idx="5">
                  <c:v>43617</c:v>
                </c:pt>
                <c:pt idx="6">
                  <c:v>43647</c:v>
                </c:pt>
                <c:pt idx="7">
                  <c:v>43678</c:v>
                </c:pt>
                <c:pt idx="8">
                  <c:v>43709</c:v>
                </c:pt>
                <c:pt idx="9">
                  <c:v>43739</c:v>
                </c:pt>
                <c:pt idx="10">
                  <c:v>43770</c:v>
                </c:pt>
                <c:pt idx="11">
                  <c:v>43800</c:v>
                </c:pt>
                <c:pt idx="12">
                  <c:v>43831</c:v>
                </c:pt>
                <c:pt idx="13">
                  <c:v>43862</c:v>
                </c:pt>
                <c:pt idx="14">
                  <c:v>43891</c:v>
                </c:pt>
                <c:pt idx="15">
                  <c:v>43922</c:v>
                </c:pt>
                <c:pt idx="16">
                  <c:v>43952</c:v>
                </c:pt>
                <c:pt idx="17">
                  <c:v>43983</c:v>
                </c:pt>
                <c:pt idx="18">
                  <c:v>44013</c:v>
                </c:pt>
                <c:pt idx="19">
                  <c:v>44044</c:v>
                </c:pt>
                <c:pt idx="20">
                  <c:v>44075</c:v>
                </c:pt>
                <c:pt idx="21">
                  <c:v>44105</c:v>
                </c:pt>
                <c:pt idx="22">
                  <c:v>44136</c:v>
                </c:pt>
                <c:pt idx="23">
                  <c:v>44166</c:v>
                </c:pt>
                <c:pt idx="24">
                  <c:v>44197</c:v>
                </c:pt>
                <c:pt idx="25">
                  <c:v>44228</c:v>
                </c:pt>
                <c:pt idx="26">
                  <c:v>44256</c:v>
                </c:pt>
                <c:pt idx="27">
                  <c:v>44287</c:v>
                </c:pt>
                <c:pt idx="28">
                  <c:v>44317</c:v>
                </c:pt>
                <c:pt idx="29">
                  <c:v>44348</c:v>
                </c:pt>
                <c:pt idx="30">
                  <c:v>44378</c:v>
                </c:pt>
                <c:pt idx="31">
                  <c:v>44409</c:v>
                </c:pt>
                <c:pt idx="32">
                  <c:v>44440</c:v>
                </c:pt>
                <c:pt idx="33">
                  <c:v>44470</c:v>
                </c:pt>
                <c:pt idx="34">
                  <c:v>44501</c:v>
                </c:pt>
                <c:pt idx="35">
                  <c:v>44531</c:v>
                </c:pt>
                <c:pt idx="36">
                  <c:v>44562</c:v>
                </c:pt>
                <c:pt idx="37">
                  <c:v>44593</c:v>
                </c:pt>
                <c:pt idx="38">
                  <c:v>44621</c:v>
                </c:pt>
              </c:numCache>
            </c:numRef>
          </c:cat>
          <c:val>
            <c:numRef>
              <c:f>'GB 2019-YTD'!$C$4:$C$42</c:f>
              <c:numCache>
                <c:formatCode>#,##0</c:formatCode>
                <c:ptCount val="39"/>
                <c:pt idx="0">
                  <c:v>2441576</c:v>
                </c:pt>
                <c:pt idx="1">
                  <c:v>2043417</c:v>
                </c:pt>
                <c:pt idx="2">
                  <c:v>2274077</c:v>
                </c:pt>
                <c:pt idx="3">
                  <c:v>2008580</c:v>
                </c:pt>
                <c:pt idx="4">
                  <c:v>2194854</c:v>
                </c:pt>
                <c:pt idx="5">
                  <c:v>1965585</c:v>
                </c:pt>
                <c:pt idx="6">
                  <c:v>2055022</c:v>
                </c:pt>
                <c:pt idx="7">
                  <c:v>1985484</c:v>
                </c:pt>
                <c:pt idx="8">
                  <c:v>2202436</c:v>
                </c:pt>
                <c:pt idx="9">
                  <c:v>2179309</c:v>
                </c:pt>
                <c:pt idx="10">
                  <c:v>1940537</c:v>
                </c:pt>
                <c:pt idx="11">
                  <c:v>1581139</c:v>
                </c:pt>
                <c:pt idx="12">
                  <c:v>2613846</c:v>
                </c:pt>
                <c:pt idx="13">
                  <c:v>2113486</c:v>
                </c:pt>
                <c:pt idx="14">
                  <c:v>1448004</c:v>
                </c:pt>
                <c:pt idx="15">
                  <c:v>357313</c:v>
                </c:pt>
                <c:pt idx="16">
                  <c:v>317960</c:v>
                </c:pt>
                <c:pt idx="17">
                  <c:v>503229</c:v>
                </c:pt>
                <c:pt idx="18">
                  <c:v>729451</c:v>
                </c:pt>
                <c:pt idx="19">
                  <c:v>630084</c:v>
                </c:pt>
                <c:pt idx="20">
                  <c:v>714160</c:v>
                </c:pt>
                <c:pt idx="21">
                  <c:v>643758</c:v>
                </c:pt>
                <c:pt idx="22">
                  <c:v>577039</c:v>
                </c:pt>
                <c:pt idx="23">
                  <c:v>594691</c:v>
                </c:pt>
                <c:pt idx="24">
                  <c:v>542724</c:v>
                </c:pt>
                <c:pt idx="25">
                  <c:v>473866</c:v>
                </c:pt>
                <c:pt idx="26">
                  <c:v>547752</c:v>
                </c:pt>
                <c:pt idx="27">
                  <c:v>459782</c:v>
                </c:pt>
                <c:pt idx="28">
                  <c:v>521983</c:v>
                </c:pt>
                <c:pt idx="29">
                  <c:v>636573</c:v>
                </c:pt>
                <c:pt idx="30">
                  <c:v>683299</c:v>
                </c:pt>
                <c:pt idx="31">
                  <c:v>796894</c:v>
                </c:pt>
                <c:pt idx="32">
                  <c:v>1041088</c:v>
                </c:pt>
                <c:pt idx="33">
                  <c:v>1250351</c:v>
                </c:pt>
                <c:pt idx="34">
                  <c:v>1259571</c:v>
                </c:pt>
                <c:pt idx="35">
                  <c:v>836587</c:v>
                </c:pt>
                <c:pt idx="36">
                  <c:v>1272175</c:v>
                </c:pt>
                <c:pt idx="37">
                  <c:v>1502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72B-415E-95D2-735A4EFEB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337568"/>
        <c:axId val="20633789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GB 2019-YTD'!$B$3</c15:sqref>
                        </c15:formulaRef>
                      </c:ext>
                    </c:extLst>
                    <c:strCache>
                      <c:ptCount val="1"/>
                      <c:pt idx="0">
                        <c:v>Gross Sales (M)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GB 2019-YTD'!$A$4:$A$42</c15:sqref>
                        </c15:formulaRef>
                      </c:ext>
                    </c:extLst>
                    <c:numCache>
                      <c:formatCode>mmm\-yy</c:formatCode>
                      <c:ptCount val="39"/>
                      <c:pt idx="0">
                        <c:v>43466</c:v>
                      </c:pt>
                      <c:pt idx="1">
                        <c:v>43497</c:v>
                      </c:pt>
                      <c:pt idx="2">
                        <c:v>43525</c:v>
                      </c:pt>
                      <c:pt idx="3">
                        <c:v>43556</c:v>
                      </c:pt>
                      <c:pt idx="4">
                        <c:v>43586</c:v>
                      </c:pt>
                      <c:pt idx="5">
                        <c:v>43617</c:v>
                      </c:pt>
                      <c:pt idx="6">
                        <c:v>43647</c:v>
                      </c:pt>
                      <c:pt idx="7">
                        <c:v>43678</c:v>
                      </c:pt>
                      <c:pt idx="8">
                        <c:v>43709</c:v>
                      </c:pt>
                      <c:pt idx="9">
                        <c:v>43739</c:v>
                      </c:pt>
                      <c:pt idx="10">
                        <c:v>43770</c:v>
                      </c:pt>
                      <c:pt idx="11">
                        <c:v>43800</c:v>
                      </c:pt>
                      <c:pt idx="12">
                        <c:v>43831</c:v>
                      </c:pt>
                      <c:pt idx="13">
                        <c:v>43862</c:v>
                      </c:pt>
                      <c:pt idx="14">
                        <c:v>43891</c:v>
                      </c:pt>
                      <c:pt idx="15">
                        <c:v>43922</c:v>
                      </c:pt>
                      <c:pt idx="16">
                        <c:v>43952</c:v>
                      </c:pt>
                      <c:pt idx="17">
                        <c:v>43983</c:v>
                      </c:pt>
                      <c:pt idx="18">
                        <c:v>44013</c:v>
                      </c:pt>
                      <c:pt idx="19">
                        <c:v>44044</c:v>
                      </c:pt>
                      <c:pt idx="20">
                        <c:v>44075</c:v>
                      </c:pt>
                      <c:pt idx="21">
                        <c:v>44105</c:v>
                      </c:pt>
                      <c:pt idx="22">
                        <c:v>44136</c:v>
                      </c:pt>
                      <c:pt idx="23">
                        <c:v>44166</c:v>
                      </c:pt>
                      <c:pt idx="24">
                        <c:v>44197</c:v>
                      </c:pt>
                      <c:pt idx="25">
                        <c:v>44228</c:v>
                      </c:pt>
                      <c:pt idx="26">
                        <c:v>44256</c:v>
                      </c:pt>
                      <c:pt idx="27">
                        <c:v>44287</c:v>
                      </c:pt>
                      <c:pt idx="28">
                        <c:v>44317</c:v>
                      </c:pt>
                      <c:pt idx="29">
                        <c:v>44348</c:v>
                      </c:pt>
                      <c:pt idx="30">
                        <c:v>44378</c:v>
                      </c:pt>
                      <c:pt idx="31">
                        <c:v>44409</c:v>
                      </c:pt>
                      <c:pt idx="32">
                        <c:v>44440</c:v>
                      </c:pt>
                      <c:pt idx="33">
                        <c:v>44470</c:v>
                      </c:pt>
                      <c:pt idx="34">
                        <c:v>44501</c:v>
                      </c:pt>
                      <c:pt idx="35">
                        <c:v>44531</c:v>
                      </c:pt>
                      <c:pt idx="36">
                        <c:v>44562</c:v>
                      </c:pt>
                      <c:pt idx="37">
                        <c:v>44593</c:v>
                      </c:pt>
                      <c:pt idx="38">
                        <c:v>4462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GB 2019-YTD'!$B$4:$B$41</c15:sqref>
                        </c15:formulaRef>
                      </c:ext>
                    </c:extLst>
                    <c:numCache>
                      <c:formatCode>General</c:formatCode>
                      <c:ptCount val="38"/>
                      <c:pt idx="0" formatCode="#,##0.00">
                        <c:v>1181.6300000000001</c:v>
                      </c:pt>
                      <c:pt idx="1">
                        <c:v>996.73</c:v>
                      </c:pt>
                      <c:pt idx="2" formatCode="#,##0.00">
                        <c:v>1054.56</c:v>
                      </c:pt>
                      <c:pt idx="3">
                        <c:v>947.94</c:v>
                      </c:pt>
                      <c:pt idx="4" formatCode="#,##0.00">
                        <c:v>1043.3499999999999</c:v>
                      </c:pt>
                      <c:pt idx="5">
                        <c:v>958.09</c:v>
                      </c:pt>
                      <c:pt idx="6" formatCode="#,##0.00">
                        <c:v>1016.57</c:v>
                      </c:pt>
                      <c:pt idx="7">
                        <c:v>961.8</c:v>
                      </c:pt>
                      <c:pt idx="8" formatCode="#,##0.00">
                        <c:v>1075.5899999999999</c:v>
                      </c:pt>
                      <c:pt idx="9" formatCode="#,##0.00">
                        <c:v>1089.3900000000001</c:v>
                      </c:pt>
                      <c:pt idx="10">
                        <c:v>931.33</c:v>
                      </c:pt>
                      <c:pt idx="11">
                        <c:v>745.66</c:v>
                      </c:pt>
                      <c:pt idx="12" formatCode="#,##0.00">
                        <c:v>1199.72</c:v>
                      </c:pt>
                      <c:pt idx="13">
                        <c:v>825.9</c:v>
                      </c:pt>
                      <c:pt idx="14">
                        <c:v>98.66</c:v>
                      </c:pt>
                      <c:pt idx="15">
                        <c:v>-107.16</c:v>
                      </c:pt>
                      <c:pt idx="16">
                        <c:v>-69.55</c:v>
                      </c:pt>
                      <c:pt idx="17">
                        <c:v>-81.02</c:v>
                      </c:pt>
                      <c:pt idx="18">
                        <c:v>-72.45</c:v>
                      </c:pt>
                      <c:pt idx="19">
                        <c:v>-56.84</c:v>
                      </c:pt>
                      <c:pt idx="20">
                        <c:v>-33.049999999999997</c:v>
                      </c:pt>
                      <c:pt idx="21">
                        <c:v>21.06</c:v>
                      </c:pt>
                      <c:pt idx="22">
                        <c:v>67.180000000000007</c:v>
                      </c:pt>
                      <c:pt idx="23">
                        <c:v>90.41</c:v>
                      </c:pt>
                      <c:pt idx="24">
                        <c:v>38.83</c:v>
                      </c:pt>
                      <c:pt idx="25">
                        <c:v>45.93</c:v>
                      </c:pt>
                      <c:pt idx="26">
                        <c:v>73.38</c:v>
                      </c:pt>
                      <c:pt idx="27">
                        <c:v>67.760000000000005</c:v>
                      </c:pt>
                      <c:pt idx="28">
                        <c:v>80.05</c:v>
                      </c:pt>
                      <c:pt idx="29">
                        <c:v>110.94</c:v>
                      </c:pt>
                      <c:pt idx="30">
                        <c:v>131.94999999999999</c:v>
                      </c:pt>
                      <c:pt idx="31">
                        <c:v>179.99</c:v>
                      </c:pt>
                      <c:pt idx="32">
                        <c:v>301.23</c:v>
                      </c:pt>
                      <c:pt idx="33">
                        <c:v>461.26</c:v>
                      </c:pt>
                      <c:pt idx="34">
                        <c:v>528.41</c:v>
                      </c:pt>
                      <c:pt idx="35">
                        <c:v>249.49</c:v>
                      </c:pt>
                      <c:pt idx="36" formatCode="0.00">
                        <c:v>459.3</c:v>
                      </c:pt>
                      <c:pt idx="37">
                        <c:v>652.8200000000000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272B-415E-95D2-735A4EFEB844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9-YTD'!$D$3</c15:sqref>
                        </c15:formulaRef>
                      </c:ext>
                    </c:extLst>
                    <c:strCache>
                      <c:ptCount val="1"/>
                      <c:pt idx="0">
                        <c:v>% Cash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9-YTD'!$A$4:$A$42</c15:sqref>
                        </c15:formulaRef>
                      </c:ext>
                    </c:extLst>
                    <c:numCache>
                      <c:formatCode>mmm\-yy</c:formatCode>
                      <c:ptCount val="39"/>
                      <c:pt idx="0">
                        <c:v>43466</c:v>
                      </c:pt>
                      <c:pt idx="1">
                        <c:v>43497</c:v>
                      </c:pt>
                      <c:pt idx="2">
                        <c:v>43525</c:v>
                      </c:pt>
                      <c:pt idx="3">
                        <c:v>43556</c:v>
                      </c:pt>
                      <c:pt idx="4">
                        <c:v>43586</c:v>
                      </c:pt>
                      <c:pt idx="5">
                        <c:v>43617</c:v>
                      </c:pt>
                      <c:pt idx="6">
                        <c:v>43647</c:v>
                      </c:pt>
                      <c:pt idx="7">
                        <c:v>43678</c:v>
                      </c:pt>
                      <c:pt idx="8">
                        <c:v>43709</c:v>
                      </c:pt>
                      <c:pt idx="9">
                        <c:v>43739</c:v>
                      </c:pt>
                      <c:pt idx="10">
                        <c:v>43770</c:v>
                      </c:pt>
                      <c:pt idx="11">
                        <c:v>43800</c:v>
                      </c:pt>
                      <c:pt idx="12">
                        <c:v>43831</c:v>
                      </c:pt>
                      <c:pt idx="13">
                        <c:v>43862</c:v>
                      </c:pt>
                      <c:pt idx="14">
                        <c:v>43891</c:v>
                      </c:pt>
                      <c:pt idx="15">
                        <c:v>43922</c:v>
                      </c:pt>
                      <c:pt idx="16">
                        <c:v>43952</c:v>
                      </c:pt>
                      <c:pt idx="17">
                        <c:v>43983</c:v>
                      </c:pt>
                      <c:pt idx="18">
                        <c:v>44013</c:v>
                      </c:pt>
                      <c:pt idx="19">
                        <c:v>44044</c:v>
                      </c:pt>
                      <c:pt idx="20">
                        <c:v>44075</c:v>
                      </c:pt>
                      <c:pt idx="21">
                        <c:v>44105</c:v>
                      </c:pt>
                      <c:pt idx="22">
                        <c:v>44136</c:v>
                      </c:pt>
                      <c:pt idx="23">
                        <c:v>44166</c:v>
                      </c:pt>
                      <c:pt idx="24">
                        <c:v>44197</c:v>
                      </c:pt>
                      <c:pt idx="25">
                        <c:v>44228</c:v>
                      </c:pt>
                      <c:pt idx="26">
                        <c:v>44256</c:v>
                      </c:pt>
                      <c:pt idx="27">
                        <c:v>44287</c:v>
                      </c:pt>
                      <c:pt idx="28">
                        <c:v>44317</c:v>
                      </c:pt>
                      <c:pt idx="29">
                        <c:v>44348</c:v>
                      </c:pt>
                      <c:pt idx="30">
                        <c:v>44378</c:v>
                      </c:pt>
                      <c:pt idx="31">
                        <c:v>44409</c:v>
                      </c:pt>
                      <c:pt idx="32">
                        <c:v>44440</c:v>
                      </c:pt>
                      <c:pt idx="33">
                        <c:v>44470</c:v>
                      </c:pt>
                      <c:pt idx="34">
                        <c:v>44501</c:v>
                      </c:pt>
                      <c:pt idx="35">
                        <c:v>44531</c:v>
                      </c:pt>
                      <c:pt idx="36">
                        <c:v>44562</c:v>
                      </c:pt>
                      <c:pt idx="37">
                        <c:v>44593</c:v>
                      </c:pt>
                      <c:pt idx="38">
                        <c:v>446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GB 2019-YTD'!$D$4:$D$41</c15:sqref>
                        </c15:formulaRef>
                      </c:ext>
                    </c:extLst>
                    <c:numCache>
                      <c:formatCode>0.00%</c:formatCode>
                      <c:ptCount val="38"/>
                      <c:pt idx="0">
                        <c:v>0.71730000000000005</c:v>
                      </c:pt>
                      <c:pt idx="1">
                        <c:v>0.7127</c:v>
                      </c:pt>
                      <c:pt idx="2">
                        <c:v>0.70369999999999999</c:v>
                      </c:pt>
                      <c:pt idx="3">
                        <c:v>0.6925</c:v>
                      </c:pt>
                      <c:pt idx="4">
                        <c:v>0.69810000000000005</c:v>
                      </c:pt>
                      <c:pt idx="5">
                        <c:v>0.72119999999999995</c:v>
                      </c:pt>
                      <c:pt idx="6">
                        <c:v>0.72450000000000003</c:v>
                      </c:pt>
                      <c:pt idx="7">
                        <c:v>0.70750000000000002</c:v>
                      </c:pt>
                      <c:pt idx="8">
                        <c:v>0.70760000000000001</c:v>
                      </c:pt>
                      <c:pt idx="9">
                        <c:v>0.70440000000000003</c:v>
                      </c:pt>
                      <c:pt idx="10">
                        <c:v>0.71499999999999997</c:v>
                      </c:pt>
                      <c:pt idx="11">
                        <c:v>0.74809999999999999</c:v>
                      </c:pt>
                      <c:pt idx="12">
                        <c:v>0.72640000000000005</c:v>
                      </c:pt>
                      <c:pt idx="13">
                        <c:v>0.73360000000000003</c:v>
                      </c:pt>
                      <c:pt idx="14">
                        <c:v>0.82620000000000005</c:v>
                      </c:pt>
                      <c:pt idx="15">
                        <c:v>0.76180000000000003</c:v>
                      </c:pt>
                      <c:pt idx="16">
                        <c:v>0.8649</c:v>
                      </c:pt>
                      <c:pt idx="17">
                        <c:v>0.97740000000000005</c:v>
                      </c:pt>
                      <c:pt idx="18">
                        <c:v>1.0047999999999999</c:v>
                      </c:pt>
                      <c:pt idx="19">
                        <c:v>0.97489999999999999</c:v>
                      </c:pt>
                      <c:pt idx="20">
                        <c:v>0.99519999999999997</c:v>
                      </c:pt>
                      <c:pt idx="21">
                        <c:v>0.6008</c:v>
                      </c:pt>
                      <c:pt idx="22">
                        <c:v>0.7661</c:v>
                      </c:pt>
                      <c:pt idx="23">
                        <c:v>0.79110000000000003</c:v>
                      </c:pt>
                      <c:pt idx="24">
                        <c:v>0.73280000000000001</c:v>
                      </c:pt>
                      <c:pt idx="25">
                        <c:v>0.79530000000000001</c:v>
                      </c:pt>
                      <c:pt idx="26">
                        <c:v>0.75449999999999995</c:v>
                      </c:pt>
                      <c:pt idx="27">
                        <c:v>0.67359999999999998</c:v>
                      </c:pt>
                      <c:pt idx="28">
                        <c:v>0.68710000000000004</c:v>
                      </c:pt>
                      <c:pt idx="29">
                        <c:v>0.64749999999999996</c:v>
                      </c:pt>
                      <c:pt idx="30">
                        <c:v>0.71009999999999995</c:v>
                      </c:pt>
                      <c:pt idx="31">
                        <c:v>0.72650000000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72B-415E-95D2-735A4EFEB844}"/>
                  </c:ext>
                </c:extLst>
              </c15:ser>
            </c15:filteredLineSeries>
          </c:ext>
        </c:extLst>
      </c:lineChart>
      <c:dateAx>
        <c:axId val="20633756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337896"/>
        <c:crosses val="autoZero"/>
        <c:auto val="1"/>
        <c:lblOffset val="100"/>
        <c:baseTimeUnit val="months"/>
      </c:dateAx>
      <c:valAx>
        <c:axId val="206337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33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191</cdr:x>
      <cdr:y>0.45858</cdr:y>
    </cdr:from>
    <cdr:to>
      <cdr:x>0.54898</cdr:x>
      <cdr:y>0.5889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A47F971A-4D5D-4312-A535-3A12FDFE432A}"/>
            </a:ext>
          </a:extLst>
        </cdr:cNvPr>
        <cdr:cNvSpPr txBox="1"/>
      </cdr:nvSpPr>
      <cdr:spPr>
        <a:xfrm xmlns:a="http://schemas.openxmlformats.org/drawingml/2006/main">
          <a:off x="4822179" y="2247026"/>
          <a:ext cx="1452241" cy="6388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23:</a:t>
          </a:r>
          <a:r>
            <a:rPr lang="en-US" sz="1600" baseline="0" dirty="0">
              <a:solidFill>
                <a:sysClr val="windowText" lastClr="000000"/>
              </a:solidFill>
            </a:rPr>
            <a:t> 94% of</a:t>
          </a:r>
        </a:p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19 level</a:t>
          </a:r>
        </a:p>
      </cdr:txBody>
    </cdr:sp>
  </cdr:relSizeAnchor>
  <cdr:relSizeAnchor xmlns:cdr="http://schemas.openxmlformats.org/drawingml/2006/chartDrawing">
    <cdr:from>
      <cdr:x>0.33299</cdr:x>
      <cdr:y>0.58124</cdr:y>
    </cdr:from>
    <cdr:to>
      <cdr:x>0.53885</cdr:x>
      <cdr:y>0.70805</cdr:y>
    </cdr:to>
    <cdr:sp macro="" textlink="">
      <cdr:nvSpPr>
        <cdr:cNvPr id="10" name="TextBox 1">
          <a:extLst xmlns:a="http://schemas.openxmlformats.org/drawingml/2006/main">
            <a:ext uri="{FF2B5EF4-FFF2-40B4-BE49-F238E27FC236}">
              <a16:creationId xmlns:a16="http://schemas.microsoft.com/office/drawing/2014/main" id="{90BEED94-A271-4CEF-9EAC-2699543BA489}"/>
            </a:ext>
          </a:extLst>
        </cdr:cNvPr>
        <cdr:cNvSpPr txBox="1"/>
      </cdr:nvSpPr>
      <cdr:spPr>
        <a:xfrm xmlns:a="http://schemas.openxmlformats.org/drawingml/2006/main">
          <a:off x="3805891" y="2848074"/>
          <a:ext cx="2352841" cy="6213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22:</a:t>
          </a:r>
          <a:r>
            <a:rPr lang="en-US" sz="1600" baseline="0" dirty="0">
              <a:solidFill>
                <a:sysClr val="windowText" lastClr="000000"/>
              </a:solidFill>
            </a:rPr>
            <a:t> 83% of</a:t>
          </a:r>
        </a:p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19 level</a:t>
          </a:r>
        </a:p>
      </cdr:txBody>
    </cdr:sp>
  </cdr:relSizeAnchor>
  <cdr:relSizeAnchor xmlns:cdr="http://schemas.openxmlformats.org/drawingml/2006/chartDrawing">
    <cdr:from>
      <cdr:x>0.23692</cdr:x>
      <cdr:y>0.71825</cdr:y>
    </cdr:from>
    <cdr:to>
      <cdr:x>0.44278</cdr:x>
      <cdr:y>0.8450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90BEED94-A271-4CEF-9EAC-2699543BA489}"/>
            </a:ext>
          </a:extLst>
        </cdr:cNvPr>
        <cdr:cNvSpPr txBox="1"/>
      </cdr:nvSpPr>
      <cdr:spPr>
        <a:xfrm xmlns:a="http://schemas.openxmlformats.org/drawingml/2006/main">
          <a:off x="2707840" y="3519407"/>
          <a:ext cx="2352841" cy="6213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21:</a:t>
          </a:r>
          <a:r>
            <a:rPr lang="en-US" sz="1600" baseline="0" dirty="0">
              <a:solidFill>
                <a:sysClr val="windowText" lastClr="000000"/>
              </a:solidFill>
            </a:rPr>
            <a:t> 47% of</a:t>
          </a:r>
        </a:p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19 level</a:t>
          </a:r>
        </a:p>
      </cdr:txBody>
    </cdr:sp>
  </cdr:relSizeAnchor>
  <cdr:relSizeAnchor xmlns:cdr="http://schemas.openxmlformats.org/drawingml/2006/chartDrawing">
    <cdr:from>
      <cdr:x>0.43634</cdr:x>
      <cdr:y>0.40552</cdr:y>
    </cdr:from>
    <cdr:to>
      <cdr:x>0.45605</cdr:x>
      <cdr:y>0.46918</cdr:y>
    </cdr:to>
    <cdr:cxnSp macro="">
      <cdr:nvCxnSpPr>
        <cdr:cNvPr id="13" name="Straight Arrow Connector 12">
          <a:extLst xmlns:a="http://schemas.openxmlformats.org/drawingml/2006/main">
            <a:ext uri="{FF2B5EF4-FFF2-40B4-BE49-F238E27FC236}">
              <a16:creationId xmlns:a16="http://schemas.microsoft.com/office/drawing/2014/main" id="{0D958467-42F9-4498-A395-B3C5CED22C51}"/>
            </a:ext>
          </a:extLst>
        </cdr:cNvPr>
        <cdr:cNvCxnSpPr/>
      </cdr:nvCxnSpPr>
      <cdr:spPr>
        <a:xfrm xmlns:a="http://schemas.openxmlformats.org/drawingml/2006/main" flipH="1" flipV="1">
          <a:off x="4987046" y="1987033"/>
          <a:ext cx="225272" cy="311933"/>
        </a:xfrm>
        <a:prstGeom xmlns:a="http://schemas.openxmlformats.org/drawingml/2006/main" prst="straightConnector1">
          <a:avLst/>
        </a:prstGeom>
        <a:ln xmlns:a="http://schemas.openxmlformats.org/drawingml/2006/main" w="22225">
          <a:tailEnd type="triangle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9185</cdr:x>
      <cdr:y>0.6698</cdr:y>
    </cdr:from>
    <cdr:to>
      <cdr:x>0.30734</cdr:x>
      <cdr:y>0.7161</cdr:y>
    </cdr:to>
    <cdr:cxnSp macro="">
      <cdr:nvCxnSpPr>
        <cdr:cNvPr id="17" name="Straight Arrow Connector 16">
          <a:extLst xmlns:a="http://schemas.openxmlformats.org/drawingml/2006/main">
            <a:ext uri="{FF2B5EF4-FFF2-40B4-BE49-F238E27FC236}">
              <a16:creationId xmlns:a16="http://schemas.microsoft.com/office/drawing/2014/main" id="{8C721BAA-AF78-43BF-AD5C-BE90E8E5EB19}"/>
            </a:ext>
          </a:extLst>
        </cdr:cNvPr>
        <cdr:cNvCxnSpPr/>
      </cdr:nvCxnSpPr>
      <cdr:spPr>
        <a:xfrm xmlns:a="http://schemas.openxmlformats.org/drawingml/2006/main" flipH="1" flipV="1">
          <a:off x="3335638" y="3282003"/>
          <a:ext cx="177041" cy="226869"/>
        </a:xfrm>
        <a:prstGeom xmlns:a="http://schemas.openxmlformats.org/drawingml/2006/main" prst="straightConnector1">
          <a:avLst/>
        </a:prstGeom>
        <a:ln xmlns:a="http://schemas.openxmlformats.org/drawingml/2006/main" w="22225">
          <a:tailEnd type="triangle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5985</cdr:x>
      <cdr:y>0.4805</cdr:y>
    </cdr:from>
    <cdr:to>
      <cdr:x>0.38858</cdr:x>
      <cdr:y>0.56754</cdr:y>
    </cdr:to>
    <cdr:cxnSp macro="">
      <cdr:nvCxnSpPr>
        <cdr:cNvPr id="20" name="Straight Arrow Connector 19">
          <a:extLst xmlns:a="http://schemas.openxmlformats.org/drawingml/2006/main">
            <a:ext uri="{FF2B5EF4-FFF2-40B4-BE49-F238E27FC236}">
              <a16:creationId xmlns:a16="http://schemas.microsoft.com/office/drawing/2014/main" id="{8C721BAA-AF78-43BF-AD5C-BE90E8E5EB19}"/>
            </a:ext>
          </a:extLst>
        </cdr:cNvPr>
        <cdr:cNvCxnSpPr/>
      </cdr:nvCxnSpPr>
      <cdr:spPr>
        <a:xfrm xmlns:a="http://schemas.openxmlformats.org/drawingml/2006/main" flipH="1" flipV="1">
          <a:off x="4112873" y="2354432"/>
          <a:ext cx="328364" cy="426495"/>
        </a:xfrm>
        <a:prstGeom xmlns:a="http://schemas.openxmlformats.org/drawingml/2006/main" prst="straightConnector1">
          <a:avLst/>
        </a:prstGeom>
        <a:ln xmlns:a="http://schemas.openxmlformats.org/drawingml/2006/main" w="22225">
          <a:tailEnd type="triangle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0862</cdr:x>
      <cdr:y>0.35401</cdr:y>
    </cdr:from>
    <cdr:to>
      <cdr:x>0.54298</cdr:x>
      <cdr:y>0.39668</cdr:y>
    </cdr:to>
    <cdr:cxnSp macro="">
      <cdr:nvCxnSpPr>
        <cdr:cNvPr id="22" name="Straight Arrow Connector 21">
          <a:extLst xmlns:a="http://schemas.openxmlformats.org/drawingml/2006/main">
            <a:ext uri="{FF2B5EF4-FFF2-40B4-BE49-F238E27FC236}">
              <a16:creationId xmlns:a16="http://schemas.microsoft.com/office/drawing/2014/main" id="{69D189BA-4450-4D08-A091-4612A2A7D050}"/>
            </a:ext>
          </a:extLst>
        </cdr:cNvPr>
        <cdr:cNvCxnSpPr/>
      </cdr:nvCxnSpPr>
      <cdr:spPr>
        <a:xfrm xmlns:a="http://schemas.openxmlformats.org/drawingml/2006/main" flipH="1" flipV="1">
          <a:off x="5813165" y="1734661"/>
          <a:ext cx="392712" cy="209082"/>
        </a:xfrm>
        <a:prstGeom xmlns:a="http://schemas.openxmlformats.org/drawingml/2006/main" prst="straightConnector1">
          <a:avLst/>
        </a:prstGeom>
        <a:ln xmlns:a="http://schemas.openxmlformats.org/drawingml/2006/main" w="22225">
          <a:tailEnd type="triangle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239</cdr:x>
      <cdr:y>0.3732</cdr:y>
    </cdr:from>
    <cdr:to>
      <cdr:x>0.74825</cdr:x>
      <cdr:y>0.5</cdr:y>
    </cdr:to>
    <cdr:sp macro="" textlink="">
      <cdr:nvSpPr>
        <cdr:cNvPr id="25" name="TextBox 1">
          <a:extLst xmlns:a="http://schemas.openxmlformats.org/drawingml/2006/main">
            <a:ext uri="{FF2B5EF4-FFF2-40B4-BE49-F238E27FC236}">
              <a16:creationId xmlns:a16="http://schemas.microsoft.com/office/drawing/2014/main" id="{C0A04F41-F3CD-41F7-A58E-9CE576750A7E}"/>
            </a:ext>
          </a:extLst>
        </cdr:cNvPr>
        <cdr:cNvSpPr txBox="1"/>
      </cdr:nvSpPr>
      <cdr:spPr>
        <a:xfrm xmlns:a="http://schemas.openxmlformats.org/drawingml/2006/main">
          <a:off x="6199182" y="1828677"/>
          <a:ext cx="2352841" cy="621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24:</a:t>
          </a:r>
          <a:r>
            <a:rPr lang="en-US" sz="1600" baseline="0" dirty="0">
              <a:solidFill>
                <a:sysClr val="windowText" lastClr="000000"/>
              </a:solidFill>
            </a:rPr>
            <a:t> 103% of</a:t>
          </a:r>
        </a:p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19 level</a:t>
          </a:r>
        </a:p>
      </cdr:txBody>
    </cdr:sp>
  </cdr:relSizeAnchor>
  <cdr:relSizeAnchor xmlns:cdr="http://schemas.openxmlformats.org/drawingml/2006/chartDrawing">
    <cdr:from>
      <cdr:x>0.59166</cdr:x>
      <cdr:y>0.29498</cdr:y>
    </cdr:from>
    <cdr:to>
      <cdr:x>0.90707</cdr:x>
      <cdr:y>0.35285</cdr:y>
    </cdr:to>
    <cdr:sp macro="" textlink="">
      <cdr:nvSpPr>
        <cdr:cNvPr id="27" name="Left Brace 26">
          <a:extLst xmlns:a="http://schemas.openxmlformats.org/drawingml/2006/main">
            <a:ext uri="{FF2B5EF4-FFF2-40B4-BE49-F238E27FC236}">
              <a16:creationId xmlns:a16="http://schemas.microsoft.com/office/drawing/2014/main" id="{3AB46C0F-1EC9-4BE8-94C6-13393C192733}"/>
            </a:ext>
          </a:extLst>
        </cdr:cNvPr>
        <cdr:cNvSpPr/>
      </cdr:nvSpPr>
      <cdr:spPr>
        <a:xfrm xmlns:a="http://schemas.openxmlformats.org/drawingml/2006/main" rot="16200000">
          <a:off x="5473761" y="591758"/>
          <a:ext cx="317501" cy="2370790"/>
        </a:xfrm>
        <a:prstGeom xmlns:a="http://schemas.openxmlformats.org/drawingml/2006/main" prst="leftBrace">
          <a:avLst/>
        </a:prstGeom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5217</cdr:x>
      <cdr:y>0.32947</cdr:y>
    </cdr:from>
    <cdr:to>
      <cdr:x>0.95072</cdr:x>
      <cdr:y>0.45628</cdr:y>
    </cdr:to>
    <cdr:sp macro="" textlink="">
      <cdr:nvSpPr>
        <cdr:cNvPr id="28" name="TextBox 1">
          <a:extLst xmlns:a="http://schemas.openxmlformats.org/drawingml/2006/main">
            <a:ext uri="{FF2B5EF4-FFF2-40B4-BE49-F238E27FC236}">
              <a16:creationId xmlns:a16="http://schemas.microsoft.com/office/drawing/2014/main" id="{54B0A3BD-F880-4812-95E5-E257A8AD8AD1}"/>
            </a:ext>
          </a:extLst>
        </cdr:cNvPr>
        <cdr:cNvSpPr txBox="1"/>
      </cdr:nvSpPr>
      <cdr:spPr>
        <a:xfrm xmlns:a="http://schemas.openxmlformats.org/drawingml/2006/main">
          <a:off x="5653617" y="1807607"/>
          <a:ext cx="1492334" cy="695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2025-2030 </a:t>
          </a:r>
        </a:p>
        <a:p xmlns:a="http://schemas.openxmlformats.org/drawingml/2006/main">
          <a:r>
            <a:rPr lang="en-US" sz="1600" dirty="0">
              <a:solidFill>
                <a:sysClr val="windowText" lastClr="000000"/>
              </a:solidFill>
            </a:rPr>
            <a:t>CAGR:</a:t>
          </a:r>
          <a:r>
            <a:rPr lang="en-US" sz="1600" baseline="0" dirty="0">
              <a:solidFill>
                <a:sysClr val="windowText" lastClr="000000"/>
              </a:solidFill>
            </a:rPr>
            <a:t> 5.3</a:t>
          </a:r>
          <a:r>
            <a:rPr lang="en-US" sz="1600" dirty="0">
              <a:solidFill>
                <a:sysClr val="windowText" lastClr="000000"/>
              </a:solidFill>
            </a:rPr>
            <a:t>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10504</cdr:y>
    </cdr:from>
    <cdr:to>
      <cdr:x>0.99998</cdr:x>
      <cdr:y>0.1784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73BD27E-6B02-44EB-A0BC-D45CB99049C0}"/>
            </a:ext>
          </a:extLst>
        </cdr:cNvPr>
        <cdr:cNvSpPr txBox="1"/>
      </cdr:nvSpPr>
      <cdr:spPr>
        <a:xfrm xmlns:a="http://schemas.openxmlformats.org/drawingml/2006/main">
          <a:off x="0" y="359229"/>
          <a:ext cx="6098944" cy="2510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fld id="{12498CFD-F0AF-488C-91DB-E8486C80F1D0}" type="TxLink">
            <a:rPr lang="en-US" sz="1400" b="1" i="0" u="none" strike="noStrike">
              <a:solidFill>
                <a:srgbClr val="000000"/>
              </a:solidFill>
              <a:highlight>
                <a:srgbClr val="C0C0C0"/>
              </a:highlight>
              <a:latin typeface="Aktiv Grotesk"/>
              <a:ea typeface="Aktiv Grotesk"/>
              <a:cs typeface="Aktiv Grotesk"/>
            </a:rPr>
            <a:pPr/>
            <a:t>RPKs in January 2022, % change vs. Jan 2019</a:t>
          </a:fld>
          <a:endParaRPr lang="en-US" sz="1800" b="1" dirty="0">
            <a:solidFill>
              <a:schemeClr val="tx1"/>
            </a:solidFill>
            <a:highlight>
              <a:srgbClr val="C0C0C0"/>
            </a:highlight>
            <a:latin typeface="Aktiv Grotesk" panose="020B0504020202020204" pitchFamily="34" charset="0"/>
            <a:ea typeface="Aktiv Grotesk" panose="020B0504020202020204" pitchFamily="34" charset="0"/>
            <a:cs typeface="Aktiv Grotesk" panose="020B0504020202020204" pitchFamily="34" charset="0"/>
          </a:endParaRPr>
        </a:p>
      </cdr:txBody>
    </cdr:sp>
  </cdr:relSizeAnchor>
  <cdr:relSizeAnchor xmlns:cdr="http://schemas.openxmlformats.org/drawingml/2006/chartDrawing">
    <cdr:from>
      <cdr:x>0.8094</cdr:x>
      <cdr:y>0.16424</cdr:y>
    </cdr:from>
    <cdr:to>
      <cdr:x>0.8094</cdr:x>
      <cdr:y>0.93348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65C51A3F-EE04-491F-AE49-FEE1F9705A15}"/>
            </a:ext>
          </a:extLst>
        </cdr:cNvPr>
        <cdr:cNvCxnSpPr/>
      </cdr:nvCxnSpPr>
      <cdr:spPr>
        <a:xfrm xmlns:a="http://schemas.openxmlformats.org/drawingml/2006/main">
          <a:off x="4944314" y="561677"/>
          <a:ext cx="0" cy="2630691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7377</cdr:x>
      <cdr:y>0.21105</cdr:y>
    </cdr:from>
    <cdr:to>
      <cdr:x>0.90412</cdr:x>
      <cdr:y>0.2925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AAC2FC0-D4CD-4919-9E25-25325A5D4F17}"/>
            </a:ext>
          </a:extLst>
        </cdr:cNvPr>
        <cdr:cNvSpPr txBox="1"/>
      </cdr:nvSpPr>
      <cdr:spPr>
        <a:xfrm xmlns:a="http://schemas.openxmlformats.org/drawingml/2006/main">
          <a:off x="8844192" y="1039453"/>
          <a:ext cx="1489900" cy="4014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b="1" dirty="0">
              <a:solidFill>
                <a:schemeClr val="accent1"/>
              </a:solidFill>
            </a:rPr>
            <a:t>COVID</a:t>
          </a:r>
        </a:p>
      </cdr:txBody>
    </cdr:sp>
  </cdr:relSizeAnchor>
  <cdr:relSizeAnchor xmlns:cdr="http://schemas.openxmlformats.org/drawingml/2006/chartDrawing">
    <cdr:from>
      <cdr:x>0.7804</cdr:x>
      <cdr:y>0.63003</cdr:y>
    </cdr:from>
    <cdr:to>
      <cdr:x>0.91075</cdr:x>
      <cdr:y>0.75889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4F0A3813-101C-442A-93F3-5F6EDE32F43D}"/>
            </a:ext>
          </a:extLst>
        </cdr:cNvPr>
        <cdr:cNvSpPr txBox="1"/>
      </cdr:nvSpPr>
      <cdr:spPr>
        <a:xfrm xmlns:a="http://schemas.openxmlformats.org/drawingml/2006/main">
          <a:off x="8919988" y="3102970"/>
          <a:ext cx="1489900" cy="6346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b="1" dirty="0">
              <a:solidFill>
                <a:schemeClr val="accent2"/>
              </a:solidFill>
            </a:rPr>
            <a:t>War</a:t>
          </a:r>
        </a:p>
      </cdr:txBody>
    </cdr:sp>
  </cdr:relSizeAnchor>
  <cdr:relSizeAnchor xmlns:cdr="http://schemas.openxmlformats.org/drawingml/2006/chartDrawing">
    <cdr:from>
      <cdr:x>0</cdr:x>
      <cdr:y>0.0835</cdr:y>
    </cdr:from>
    <cdr:to>
      <cdr:x>0.68769</cdr:x>
      <cdr:y>0.14004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59E272EA-C063-42ED-B36C-5E4062225D4C}"/>
            </a:ext>
          </a:extLst>
        </cdr:cNvPr>
        <cdr:cNvSpPr txBox="1"/>
      </cdr:nvSpPr>
      <cdr:spPr>
        <a:xfrm xmlns:a="http://schemas.openxmlformats.org/drawingml/2006/main">
          <a:off x="0" y="403226"/>
          <a:ext cx="5159376" cy="2730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Popularity</a:t>
          </a:r>
          <a:r>
            <a:rPr lang="en-US" sz="1400" baseline="0" dirty="0"/>
            <a:t> of a search term for a given period, max = 100</a:t>
          </a:r>
          <a:endParaRPr lang="en-US" sz="1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4E25C4-E60C-0146-844E-7A344674F2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21289-2DCF-194A-8097-9D2CC54F73B3}" type="slidenum">
              <a:rPr lang="en-GB" smtClean="0">
                <a:solidFill>
                  <a:srgbClr val="1E32FA"/>
                </a:solidFill>
              </a:rPr>
              <a:t>‹#›</a:t>
            </a:fld>
            <a:endParaRPr lang="en-GB">
              <a:solidFill>
                <a:srgbClr val="1E32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917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5700"/>
            <a:ext cx="5540375" cy="31162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0"/>
            <a:ext cx="5608320" cy="363670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rgbClr val="1E32FA"/>
                </a:solidFill>
              </a:defRPr>
            </a:lvl1pPr>
          </a:lstStyle>
          <a:p>
            <a:fld id="{6524D599-8961-4485-8B96-B828C032954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958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400"/>
      </a:spcBef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600"/>
      </a:spcBef>
      <a:spcAft>
        <a:spcPts val="0"/>
      </a:spcAft>
      <a:buSzPct val="11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SzPct val="110000"/>
      <a:buFont typeface="Aktiv Grotesk" panose="020B05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 typeface="Aktiv Grotesk" panose="020B05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0" algn="l" defTabSz="914400" rtl="0" eaLnBrk="1" latinLnBrk="0" hangingPunct="1">
      <a:spcBef>
        <a:spcPts val="1400"/>
      </a:spcBef>
      <a:defRPr sz="1200" kern="1200">
        <a:solidFill>
          <a:srgbClr val="1E32FA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25705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14207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013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New challen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1610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2420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558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737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897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025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$110bn + reimbursable deb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160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4D599-8961-4485-8B96-B828C032954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705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9985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B5A4E-76D8-7B42-A244-D1820A005A7E}" type="slidenum">
              <a:rPr lang="en-FR"/>
              <a:t>11</a:t>
            </a:fld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1336913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delay to the international recovery is partly driven by Asia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the main region where we expect ongoing relatively strict travel restrictions and overall cautious </a:t>
            </a:r>
            <a:r>
              <a:rPr lang="en-US" dirty="0" err="1"/>
              <a:t>behaviour</a:t>
            </a:r>
            <a:r>
              <a:rPr lang="en-US" dirty="0"/>
              <a:t>. For China in particular, we do not expect a clear reopening before H2 2022. Other Asian countries expected to reopen only gradually, with some setb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ther regions will be faster to remove most of the problematic restri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rica and South America also struggles in the medium term (2023 onward) partly due to economic scars and slow vaccine distrib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587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35831-E808-4904-8CB7-E8A55C290A92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47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EBFE3-289B-4FE0-8043-78956E77124E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1" y="0"/>
            <a:ext cx="59372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813" y="331200"/>
            <a:ext cx="5557837" cy="720000"/>
          </a:xfrm>
        </p:spPr>
        <p:txBody>
          <a:bodyPr/>
          <a:lstStyle>
            <a:lvl1pPr>
              <a:lnSpc>
                <a:spcPts val="54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6813" y="1476000"/>
            <a:ext cx="5557837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45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34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000" y="0"/>
            <a:ext cx="59400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5548450" cy="309600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33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400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6813" y="331201"/>
            <a:ext cx="5557837" cy="309600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21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571874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291304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276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670125"/>
            <a:ext cx="10440000" cy="2632249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893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61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0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25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55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6FBB1780-2A16-4F3A-983B-6E2811DE280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318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9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BA1A7DB-C9F4-CF46-A300-1E25FFA0C8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3200" y="0"/>
            <a:ext cx="5248800" cy="5249688"/>
          </a:xfrm>
          <a:custGeom>
            <a:avLst/>
            <a:gdLst>
              <a:gd name="connsiteX0" fmla="*/ 0 w 5248800"/>
              <a:gd name="connsiteY0" fmla="*/ 0 h 5249688"/>
              <a:gd name="connsiteX1" fmla="*/ 5248800 w 5248800"/>
              <a:gd name="connsiteY1" fmla="*/ 0 h 5249688"/>
              <a:gd name="connsiteX2" fmla="*/ 5248800 w 5248800"/>
              <a:gd name="connsiteY2" fmla="*/ 4375266 h 5249688"/>
              <a:gd name="connsiteX3" fmla="*/ 4372800 w 5248800"/>
              <a:gd name="connsiteY3" fmla="*/ 5249688 h 5249688"/>
              <a:gd name="connsiteX4" fmla="*/ 4372800 w 5248800"/>
              <a:gd name="connsiteY4" fmla="*/ 4375266 h 5249688"/>
              <a:gd name="connsiteX5" fmla="*/ 3496800 w 5248800"/>
              <a:gd name="connsiteY5" fmla="*/ 5249688 h 5249688"/>
              <a:gd name="connsiteX6" fmla="*/ 3496800 w 5248800"/>
              <a:gd name="connsiteY6" fmla="*/ 4375266 h 5249688"/>
              <a:gd name="connsiteX7" fmla="*/ 2620800 w 5248800"/>
              <a:gd name="connsiteY7" fmla="*/ 5249688 h 5249688"/>
              <a:gd name="connsiteX8" fmla="*/ 2620800 w 5248800"/>
              <a:gd name="connsiteY8" fmla="*/ 4375266 h 5249688"/>
              <a:gd name="connsiteX9" fmla="*/ 1744800 w 5248800"/>
              <a:gd name="connsiteY9" fmla="*/ 5249688 h 5249688"/>
              <a:gd name="connsiteX10" fmla="*/ 1744800 w 5248800"/>
              <a:gd name="connsiteY10" fmla="*/ 4375266 h 5249688"/>
              <a:gd name="connsiteX11" fmla="*/ 868800 w 5248800"/>
              <a:gd name="connsiteY11" fmla="*/ 5249688 h 5249688"/>
              <a:gd name="connsiteX12" fmla="*/ 868800 w 5248800"/>
              <a:gd name="connsiteY12" fmla="*/ 4375266 h 5249688"/>
              <a:gd name="connsiteX13" fmla="*/ 0 w 5248800"/>
              <a:gd name="connsiteY13" fmla="*/ 5242501 h 524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48800" h="5249688">
                <a:moveTo>
                  <a:pt x="0" y="0"/>
                </a:moveTo>
                <a:lnTo>
                  <a:pt x="5248800" y="0"/>
                </a:lnTo>
                <a:lnTo>
                  <a:pt x="5248800" y="4375266"/>
                </a:lnTo>
                <a:lnTo>
                  <a:pt x="4372800" y="5249688"/>
                </a:lnTo>
                <a:lnTo>
                  <a:pt x="4372800" y="4375266"/>
                </a:lnTo>
                <a:lnTo>
                  <a:pt x="3496800" y="5249688"/>
                </a:lnTo>
                <a:lnTo>
                  <a:pt x="3496800" y="4375266"/>
                </a:lnTo>
                <a:lnTo>
                  <a:pt x="2620800" y="5249688"/>
                </a:lnTo>
                <a:lnTo>
                  <a:pt x="2620800" y="4375266"/>
                </a:lnTo>
                <a:lnTo>
                  <a:pt x="1744800" y="5249688"/>
                </a:lnTo>
                <a:lnTo>
                  <a:pt x="1744800" y="4375266"/>
                </a:lnTo>
                <a:lnTo>
                  <a:pt x="868800" y="5249688"/>
                </a:lnTo>
                <a:lnTo>
                  <a:pt x="868800" y="4375266"/>
                </a:lnTo>
                <a:lnTo>
                  <a:pt x="0" y="52425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63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 Multi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0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746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853F4E6-622D-6746-9222-95B6AD41F6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60000" y="0"/>
            <a:ext cx="7632000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2000" h="6858000">
                <a:moveTo>
                  <a:pt x="0" y="0"/>
                </a:moveTo>
                <a:lnTo>
                  <a:pt x="7632000" y="0"/>
                </a:lnTo>
                <a:lnTo>
                  <a:pt x="7632000" y="6858000"/>
                </a:lnTo>
                <a:lnTo>
                  <a:pt x="2291650" y="6858000"/>
                </a:lnTo>
                <a:lnTo>
                  <a:pt x="2291650" y="6444218"/>
                </a:lnTo>
                <a:cubicBezTo>
                  <a:pt x="2291650" y="2287588"/>
                  <a:pt x="2291650" y="2287588"/>
                  <a:pt x="2291650" y="2287588"/>
                </a:cubicBez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30000" y="5677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2F004939-8A88-4CA1-8201-BC4132F9F740}" type="datetime3">
              <a:rPr lang="en-US" smtClean="0"/>
              <a:t>18 May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11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283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293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56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32AC5EC-FFAB-AD4C-9161-B37DA15AD7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5036" y="1530000"/>
            <a:ext cx="5329041" cy="5328000"/>
          </a:xfrm>
          <a:custGeom>
            <a:avLst/>
            <a:gdLst>
              <a:gd name="connsiteX0" fmla="*/ 0 w 5329041"/>
              <a:gd name="connsiteY0" fmla="*/ 0 h 5328000"/>
              <a:gd name="connsiteX1" fmla="*/ 5329041 w 5329041"/>
              <a:gd name="connsiteY1" fmla="*/ 0 h 5328000"/>
              <a:gd name="connsiteX2" fmla="*/ 5329041 w 5329041"/>
              <a:gd name="connsiteY2" fmla="*/ 900000 h 5328000"/>
              <a:gd name="connsiteX3" fmla="*/ 901041 w 5329041"/>
              <a:gd name="connsiteY3" fmla="*/ 900000 h 5328000"/>
              <a:gd name="connsiteX4" fmla="*/ 901041 w 5329041"/>
              <a:gd name="connsiteY4" fmla="*/ 5328000 h 5328000"/>
              <a:gd name="connsiteX5" fmla="*/ 0 w 5329041"/>
              <a:gd name="connsiteY5" fmla="*/ 5328000 h 53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29041" h="5328000">
                <a:moveTo>
                  <a:pt x="0" y="0"/>
                </a:moveTo>
                <a:lnTo>
                  <a:pt x="5329041" y="0"/>
                </a:lnTo>
                <a:lnTo>
                  <a:pt x="5329041" y="900000"/>
                </a:lnTo>
                <a:lnTo>
                  <a:pt x="901041" y="900000"/>
                </a:lnTo>
                <a:lnTo>
                  <a:pt x="901041" y="5328000"/>
                </a:lnTo>
                <a:lnTo>
                  <a:pt x="0" y="532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34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38423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A0F5A8E4-A79E-49B5-BDA6-D878340715B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809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209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70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spcBef>
                <a:spcPts val="0"/>
              </a:spcBef>
              <a:spcAft>
                <a:spcPts val="15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244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illustr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82127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48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245853F-62A6-DE4A-9506-CFF59CA69A0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69063" y="0"/>
            <a:ext cx="5722937" cy="5724000"/>
          </a:xfrm>
          <a:custGeom>
            <a:avLst/>
            <a:gdLst>
              <a:gd name="connsiteX0" fmla="*/ 0 w 5722937"/>
              <a:gd name="connsiteY0" fmla="*/ 0 h 5724000"/>
              <a:gd name="connsiteX1" fmla="*/ 5722937 w 5722937"/>
              <a:gd name="connsiteY1" fmla="*/ 0 h 5724000"/>
              <a:gd name="connsiteX2" fmla="*/ 5722937 w 5722937"/>
              <a:gd name="connsiteY2" fmla="*/ 5724000 h 5724000"/>
              <a:gd name="connsiteX3" fmla="*/ 953626 w 5722937"/>
              <a:gd name="connsiteY3" fmla="*/ 5724000 h 5724000"/>
              <a:gd name="connsiteX4" fmla="*/ 0 w 5722937"/>
              <a:gd name="connsiteY4" fmla="*/ 4771521 h 5724000"/>
              <a:gd name="connsiteX5" fmla="*/ 0 w 5722937"/>
              <a:gd name="connsiteY5" fmla="*/ 4770459 h 5724000"/>
              <a:gd name="connsiteX6" fmla="*/ 953626 w 5722937"/>
              <a:gd name="connsiteY6" fmla="*/ 4770459 h 5724000"/>
              <a:gd name="connsiteX7" fmla="*/ 0 w 5722937"/>
              <a:gd name="connsiteY7" fmla="*/ 3816605 h 5724000"/>
              <a:gd name="connsiteX8" fmla="*/ 0 w 5722937"/>
              <a:gd name="connsiteY8" fmla="*/ 3815541 h 5724000"/>
              <a:gd name="connsiteX9" fmla="*/ 953626 w 5722937"/>
              <a:gd name="connsiteY9" fmla="*/ 3815541 h 5724000"/>
              <a:gd name="connsiteX10" fmla="*/ 0 w 5722937"/>
              <a:gd name="connsiteY10" fmla="*/ 2861688 h 5724000"/>
              <a:gd name="connsiteX11" fmla="*/ 0 w 5722937"/>
              <a:gd name="connsiteY11" fmla="*/ 2860624 h 5724000"/>
              <a:gd name="connsiteX12" fmla="*/ 953626 w 5722937"/>
              <a:gd name="connsiteY12" fmla="*/ 2860624 h 5724000"/>
              <a:gd name="connsiteX13" fmla="*/ 0 w 5722937"/>
              <a:gd name="connsiteY13" fmla="*/ 1909519 h 5724000"/>
              <a:gd name="connsiteX14" fmla="*/ 0 w 5722937"/>
              <a:gd name="connsiteY14" fmla="*/ 1908459 h 5724000"/>
              <a:gd name="connsiteX15" fmla="*/ 953626 w 5722937"/>
              <a:gd name="connsiteY15" fmla="*/ 1908459 h 5724000"/>
              <a:gd name="connsiteX16" fmla="*/ 0 w 5722937"/>
              <a:gd name="connsiteY16" fmla="*/ 954605 h 5724000"/>
              <a:gd name="connsiteX17" fmla="*/ 0 w 5722937"/>
              <a:gd name="connsiteY17" fmla="*/ 953542 h 5724000"/>
              <a:gd name="connsiteX18" fmla="*/ 953626 w 5722937"/>
              <a:gd name="connsiteY18" fmla="*/ 953542 h 5724000"/>
              <a:gd name="connsiteX19" fmla="*/ 0 w 5722937"/>
              <a:gd name="connsiteY19" fmla="*/ 1062 h 57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22937" h="5724000">
                <a:moveTo>
                  <a:pt x="0" y="0"/>
                </a:moveTo>
                <a:lnTo>
                  <a:pt x="5722937" y="0"/>
                </a:lnTo>
                <a:lnTo>
                  <a:pt x="5722937" y="5724000"/>
                </a:lnTo>
                <a:lnTo>
                  <a:pt x="953626" y="5724000"/>
                </a:lnTo>
                <a:lnTo>
                  <a:pt x="0" y="4771521"/>
                </a:lnTo>
                <a:lnTo>
                  <a:pt x="0" y="4770459"/>
                </a:lnTo>
                <a:lnTo>
                  <a:pt x="953626" y="4770459"/>
                </a:lnTo>
                <a:lnTo>
                  <a:pt x="0" y="3816605"/>
                </a:lnTo>
                <a:lnTo>
                  <a:pt x="0" y="3815541"/>
                </a:lnTo>
                <a:lnTo>
                  <a:pt x="953626" y="3815541"/>
                </a:lnTo>
                <a:lnTo>
                  <a:pt x="0" y="2861688"/>
                </a:lnTo>
                <a:lnTo>
                  <a:pt x="0" y="2860624"/>
                </a:lnTo>
                <a:lnTo>
                  <a:pt x="953626" y="2860624"/>
                </a:lnTo>
                <a:lnTo>
                  <a:pt x="0" y="1909519"/>
                </a:lnTo>
                <a:lnTo>
                  <a:pt x="0" y="1908459"/>
                </a:lnTo>
                <a:lnTo>
                  <a:pt x="953626" y="1908459"/>
                </a:lnTo>
                <a:lnTo>
                  <a:pt x="0" y="954605"/>
                </a:lnTo>
                <a:lnTo>
                  <a:pt x="0" y="953542"/>
                </a:lnTo>
                <a:lnTo>
                  <a:pt x="953626" y="953542"/>
                </a:lnTo>
                <a:lnTo>
                  <a:pt x="0" y="1062"/>
                </a:lnTo>
                <a:close/>
              </a:path>
            </a:pathLst>
          </a:custGeom>
          <a:solidFill>
            <a:schemeClr val="bg2">
              <a:alpha val="47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15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 tIns="18000"/>
          <a:lstStyle>
            <a:lvl1pPr marL="0" marR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10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48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A13BF72-E5E4-1F43-822B-E2FA7CDCE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0000" y="0"/>
            <a:ext cx="5922000" cy="5927502"/>
          </a:xfrm>
          <a:custGeom>
            <a:avLst/>
            <a:gdLst>
              <a:gd name="connsiteX0" fmla="*/ 2961000 w 5922000"/>
              <a:gd name="connsiteY0" fmla="*/ 0 h 5927502"/>
              <a:gd name="connsiteX1" fmla="*/ 5922000 w 5922000"/>
              <a:gd name="connsiteY1" fmla="*/ 2963751 h 5927502"/>
              <a:gd name="connsiteX2" fmla="*/ 5922000 w 5922000"/>
              <a:gd name="connsiteY2" fmla="*/ 4940115 h 5927502"/>
              <a:gd name="connsiteX3" fmla="*/ 2961000 w 5922000"/>
              <a:gd name="connsiteY3" fmla="*/ 4940115 h 5927502"/>
              <a:gd name="connsiteX4" fmla="*/ 2961000 w 5922000"/>
              <a:gd name="connsiteY4" fmla="*/ 2963751 h 5927502"/>
              <a:gd name="connsiteX5" fmla="*/ 1974530 w 5922000"/>
              <a:gd name="connsiteY5" fmla="*/ 2963751 h 5927502"/>
              <a:gd name="connsiteX6" fmla="*/ 1974530 w 5922000"/>
              <a:gd name="connsiteY6" fmla="*/ 4940115 h 5927502"/>
              <a:gd name="connsiteX7" fmla="*/ 1974530 w 5922000"/>
              <a:gd name="connsiteY7" fmla="*/ 5927502 h 5927502"/>
              <a:gd name="connsiteX8" fmla="*/ 0 w 5922000"/>
              <a:gd name="connsiteY8" fmla="*/ 5927502 h 5927502"/>
              <a:gd name="connsiteX9" fmla="*/ 0 w 5922000"/>
              <a:gd name="connsiteY9" fmla="*/ 2963751 h 5927502"/>
              <a:gd name="connsiteX10" fmla="*/ 2961000 w 5922000"/>
              <a:gd name="connsiteY10" fmla="*/ 0 h 5927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22000" h="5927502">
                <a:moveTo>
                  <a:pt x="2961000" y="0"/>
                </a:moveTo>
                <a:cubicBezTo>
                  <a:pt x="4595586" y="0"/>
                  <a:pt x="5922000" y="1327646"/>
                  <a:pt x="5922000" y="2963751"/>
                </a:cubicBezTo>
                <a:lnTo>
                  <a:pt x="5922000" y="4940115"/>
                </a:lnTo>
                <a:cubicBezTo>
                  <a:pt x="5922000" y="4940115"/>
                  <a:pt x="5922000" y="4940115"/>
                  <a:pt x="2961000" y="4940115"/>
                </a:cubicBezTo>
                <a:cubicBezTo>
                  <a:pt x="2961000" y="4940115"/>
                  <a:pt x="2961000" y="4940115"/>
                  <a:pt x="2961000" y="2963751"/>
                </a:cubicBezTo>
                <a:cubicBezTo>
                  <a:pt x="2961000" y="2963751"/>
                  <a:pt x="2961000" y="2963751"/>
                  <a:pt x="1974530" y="2963751"/>
                </a:cubicBezTo>
                <a:cubicBezTo>
                  <a:pt x="1974530" y="2963751"/>
                  <a:pt x="1974530" y="2963751"/>
                  <a:pt x="1974530" y="4940115"/>
                </a:cubicBezTo>
                <a:lnTo>
                  <a:pt x="1974530" y="5927502"/>
                </a:lnTo>
                <a:lnTo>
                  <a:pt x="0" y="5927502"/>
                </a:lnTo>
                <a:lnTo>
                  <a:pt x="0" y="2963751"/>
                </a:lnTo>
                <a:cubicBezTo>
                  <a:pt x="0" y="1327646"/>
                  <a:pt x="1324825" y="0"/>
                  <a:pt x="2961000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020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79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89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4BDBE-C5D7-4CC6-B7FA-EF9DCAC61609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54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875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299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53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80999" y="6250764"/>
            <a:ext cx="3145971" cy="288000"/>
          </a:xfrm>
        </p:spPr>
        <p:txBody>
          <a:bodyPr/>
          <a:lstStyle>
            <a:lvl1pPr>
              <a:defRPr sz="2000"/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70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87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3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" y="260648"/>
            <a:ext cx="11084288" cy="576064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324" y="1700808"/>
            <a:ext cx="11194305" cy="3455988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38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894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4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5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8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50A72-5BF2-4D4B-9D26-EE5224E8FF01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098B19-91A9-49B3-87E7-4BB35A01D5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27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82127"/>
            <a:ext cx="3600000" cy="4320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8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406EE-F717-4CC0-A4EB-BB0053FC7BA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bg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bg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BA1A7DB-C9F4-CF46-A300-1E25FFA0C8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3200" y="0"/>
            <a:ext cx="5248800" cy="5249688"/>
          </a:xfrm>
          <a:custGeom>
            <a:avLst/>
            <a:gdLst>
              <a:gd name="connsiteX0" fmla="*/ 0 w 5248800"/>
              <a:gd name="connsiteY0" fmla="*/ 0 h 5249688"/>
              <a:gd name="connsiteX1" fmla="*/ 5248800 w 5248800"/>
              <a:gd name="connsiteY1" fmla="*/ 0 h 5249688"/>
              <a:gd name="connsiteX2" fmla="*/ 5248800 w 5248800"/>
              <a:gd name="connsiteY2" fmla="*/ 4375266 h 5249688"/>
              <a:gd name="connsiteX3" fmla="*/ 4372800 w 5248800"/>
              <a:gd name="connsiteY3" fmla="*/ 5249688 h 5249688"/>
              <a:gd name="connsiteX4" fmla="*/ 4372800 w 5248800"/>
              <a:gd name="connsiteY4" fmla="*/ 4375266 h 5249688"/>
              <a:gd name="connsiteX5" fmla="*/ 3496800 w 5248800"/>
              <a:gd name="connsiteY5" fmla="*/ 5249688 h 5249688"/>
              <a:gd name="connsiteX6" fmla="*/ 3496800 w 5248800"/>
              <a:gd name="connsiteY6" fmla="*/ 4375266 h 5249688"/>
              <a:gd name="connsiteX7" fmla="*/ 2620800 w 5248800"/>
              <a:gd name="connsiteY7" fmla="*/ 5249688 h 5249688"/>
              <a:gd name="connsiteX8" fmla="*/ 2620800 w 5248800"/>
              <a:gd name="connsiteY8" fmla="*/ 4375266 h 5249688"/>
              <a:gd name="connsiteX9" fmla="*/ 1744800 w 5248800"/>
              <a:gd name="connsiteY9" fmla="*/ 5249688 h 5249688"/>
              <a:gd name="connsiteX10" fmla="*/ 1744800 w 5248800"/>
              <a:gd name="connsiteY10" fmla="*/ 4375266 h 5249688"/>
              <a:gd name="connsiteX11" fmla="*/ 868800 w 5248800"/>
              <a:gd name="connsiteY11" fmla="*/ 5249688 h 5249688"/>
              <a:gd name="connsiteX12" fmla="*/ 868800 w 5248800"/>
              <a:gd name="connsiteY12" fmla="*/ 4375266 h 5249688"/>
              <a:gd name="connsiteX13" fmla="*/ 0 w 5248800"/>
              <a:gd name="connsiteY13" fmla="*/ 5242501 h 524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48800" h="5249688">
                <a:moveTo>
                  <a:pt x="0" y="0"/>
                </a:moveTo>
                <a:lnTo>
                  <a:pt x="5248800" y="0"/>
                </a:lnTo>
                <a:lnTo>
                  <a:pt x="5248800" y="4375266"/>
                </a:lnTo>
                <a:lnTo>
                  <a:pt x="4372800" y="5249688"/>
                </a:lnTo>
                <a:lnTo>
                  <a:pt x="4372800" y="4375266"/>
                </a:lnTo>
                <a:lnTo>
                  <a:pt x="3496800" y="5249688"/>
                </a:lnTo>
                <a:lnTo>
                  <a:pt x="3496800" y="4375266"/>
                </a:lnTo>
                <a:lnTo>
                  <a:pt x="2620800" y="5249688"/>
                </a:lnTo>
                <a:lnTo>
                  <a:pt x="2620800" y="4375266"/>
                </a:lnTo>
                <a:lnTo>
                  <a:pt x="1744800" y="5249688"/>
                </a:lnTo>
                <a:lnTo>
                  <a:pt x="1744800" y="4375266"/>
                </a:lnTo>
                <a:lnTo>
                  <a:pt x="868800" y="5249688"/>
                </a:lnTo>
                <a:lnTo>
                  <a:pt x="868800" y="4375266"/>
                </a:lnTo>
                <a:lnTo>
                  <a:pt x="0" y="52425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6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822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415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19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bg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E1410B-FD8A-F54E-8DB6-2A0E555115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535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7F2D932-0F09-2144-8F5B-EE40C816D78E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 rot="16200000">
            <a:off x="6864990" y="-494"/>
            <a:ext cx="5327011" cy="5328000"/>
          </a:xfrm>
          <a:custGeom>
            <a:avLst/>
            <a:gdLst>
              <a:gd name="connsiteX0" fmla="*/ 0 w 5722937"/>
              <a:gd name="connsiteY0" fmla="*/ 0 h 5724000"/>
              <a:gd name="connsiteX1" fmla="*/ 5722937 w 5722937"/>
              <a:gd name="connsiteY1" fmla="*/ 0 h 5724000"/>
              <a:gd name="connsiteX2" fmla="*/ 5722937 w 5722937"/>
              <a:gd name="connsiteY2" fmla="*/ 5724000 h 5724000"/>
              <a:gd name="connsiteX3" fmla="*/ 953626 w 5722937"/>
              <a:gd name="connsiteY3" fmla="*/ 5724000 h 5724000"/>
              <a:gd name="connsiteX4" fmla="*/ 0 w 5722937"/>
              <a:gd name="connsiteY4" fmla="*/ 4771521 h 5724000"/>
              <a:gd name="connsiteX5" fmla="*/ 0 w 5722937"/>
              <a:gd name="connsiteY5" fmla="*/ 4770459 h 5724000"/>
              <a:gd name="connsiteX6" fmla="*/ 953626 w 5722937"/>
              <a:gd name="connsiteY6" fmla="*/ 4770459 h 5724000"/>
              <a:gd name="connsiteX7" fmla="*/ 0 w 5722937"/>
              <a:gd name="connsiteY7" fmla="*/ 3816605 h 5724000"/>
              <a:gd name="connsiteX8" fmla="*/ 0 w 5722937"/>
              <a:gd name="connsiteY8" fmla="*/ 3815541 h 5724000"/>
              <a:gd name="connsiteX9" fmla="*/ 953626 w 5722937"/>
              <a:gd name="connsiteY9" fmla="*/ 3815541 h 5724000"/>
              <a:gd name="connsiteX10" fmla="*/ 0 w 5722937"/>
              <a:gd name="connsiteY10" fmla="*/ 2861688 h 5724000"/>
              <a:gd name="connsiteX11" fmla="*/ 0 w 5722937"/>
              <a:gd name="connsiteY11" fmla="*/ 2860624 h 5724000"/>
              <a:gd name="connsiteX12" fmla="*/ 953626 w 5722937"/>
              <a:gd name="connsiteY12" fmla="*/ 2860624 h 5724000"/>
              <a:gd name="connsiteX13" fmla="*/ 0 w 5722937"/>
              <a:gd name="connsiteY13" fmla="*/ 1909519 h 5724000"/>
              <a:gd name="connsiteX14" fmla="*/ 0 w 5722937"/>
              <a:gd name="connsiteY14" fmla="*/ 1908459 h 5724000"/>
              <a:gd name="connsiteX15" fmla="*/ 953626 w 5722937"/>
              <a:gd name="connsiteY15" fmla="*/ 1908459 h 5724000"/>
              <a:gd name="connsiteX16" fmla="*/ 0 w 5722937"/>
              <a:gd name="connsiteY16" fmla="*/ 954605 h 5724000"/>
              <a:gd name="connsiteX17" fmla="*/ 0 w 5722937"/>
              <a:gd name="connsiteY17" fmla="*/ 953542 h 5724000"/>
              <a:gd name="connsiteX18" fmla="*/ 953626 w 5722937"/>
              <a:gd name="connsiteY18" fmla="*/ 953542 h 5724000"/>
              <a:gd name="connsiteX19" fmla="*/ 0 w 5722937"/>
              <a:gd name="connsiteY19" fmla="*/ 1062 h 57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22937" h="5724000">
                <a:moveTo>
                  <a:pt x="0" y="0"/>
                </a:moveTo>
                <a:lnTo>
                  <a:pt x="5722937" y="0"/>
                </a:lnTo>
                <a:lnTo>
                  <a:pt x="5722937" y="5724000"/>
                </a:lnTo>
                <a:lnTo>
                  <a:pt x="953626" y="5724000"/>
                </a:lnTo>
                <a:lnTo>
                  <a:pt x="0" y="4771521"/>
                </a:lnTo>
                <a:lnTo>
                  <a:pt x="0" y="4770459"/>
                </a:lnTo>
                <a:lnTo>
                  <a:pt x="953626" y="4770459"/>
                </a:lnTo>
                <a:lnTo>
                  <a:pt x="0" y="3816605"/>
                </a:lnTo>
                <a:lnTo>
                  <a:pt x="0" y="3815541"/>
                </a:lnTo>
                <a:lnTo>
                  <a:pt x="953626" y="3815541"/>
                </a:lnTo>
                <a:lnTo>
                  <a:pt x="0" y="2861688"/>
                </a:lnTo>
                <a:lnTo>
                  <a:pt x="0" y="2860624"/>
                </a:lnTo>
                <a:lnTo>
                  <a:pt x="953626" y="2860624"/>
                </a:lnTo>
                <a:lnTo>
                  <a:pt x="0" y="1909519"/>
                </a:lnTo>
                <a:lnTo>
                  <a:pt x="0" y="1908459"/>
                </a:lnTo>
                <a:lnTo>
                  <a:pt x="953626" y="1908459"/>
                </a:lnTo>
                <a:lnTo>
                  <a:pt x="0" y="954605"/>
                </a:lnTo>
                <a:lnTo>
                  <a:pt x="0" y="953542"/>
                </a:lnTo>
                <a:lnTo>
                  <a:pt x="953626" y="953542"/>
                </a:lnTo>
                <a:lnTo>
                  <a:pt x="0" y="106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bg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bg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0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F70B16-9173-4605-8852-01FCF7620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04F36A-EE50-4EE8-B507-FCC1EC014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5E8D667-4E1E-45CD-B330-B95D936591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62A1CB-9E39-4741-826A-9C123516D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92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13172" y="6285600"/>
            <a:ext cx="871122" cy="288000"/>
          </a:xfr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625" y="6286014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74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106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917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131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5D51C-4C54-444C-8244-C037B3C0AE60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615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55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61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1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7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69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08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93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693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26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47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WHITE_TextSlide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1649773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471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845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65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08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6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AE1E6-1D19-48DA-A32C-D6513529919C}" type="datetime3">
              <a:rPr lang="en-US" altLang="en-US"/>
              <a:pPr>
                <a:defRPr/>
              </a:pPr>
              <a:t>18 May 2022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ame of Projec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C4978B-5EC1-4885-B55D-2E97B15F37E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776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+mn-lt"/>
              </a:defRPr>
            </a:lvl1pPr>
          </a:lstStyle>
          <a:p>
            <a:pPr algn="ctr"/>
            <a:r>
              <a:rPr lang="en-US" altLang="en-US"/>
              <a:t>IATA CONFIDENTIAL</a:t>
            </a:r>
            <a:endParaRPr lang="fr-F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+mn-lt"/>
              </a:defRPr>
            </a:lvl1pPr>
          </a:lstStyle>
          <a:p>
            <a:fld id="{E7A8E54A-39E3-4560-8DC6-DB175674BE19}" type="slidenum">
              <a:rPr lang="fr-FR" altLang="en-US" smtClean="0"/>
              <a:pPr/>
              <a:t>‹#›</a:t>
            </a:fld>
            <a:endParaRPr lang="fr-FR" alt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701" y="6525345"/>
            <a:ext cx="474735" cy="347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9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571874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291304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69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670125"/>
            <a:ext cx="10440000" cy="2632249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274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822323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98937FE-5C9B-40C9-8C55-48EB04CA346C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516589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451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742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92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accent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89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26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188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F4ED228B-9904-44CA-9802-B84F9FE13619}" type="datetime3">
              <a:rPr lang="en-US" smtClean="0"/>
              <a:t>18 May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6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85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45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36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970272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670125"/>
            <a:ext cx="10440000" cy="2632249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848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AE1E6-1D19-48DA-A32C-D6513529919C}" type="datetime3">
              <a:rPr lang="en-US" altLang="en-US"/>
              <a:pPr>
                <a:defRPr/>
              </a:pPr>
              <a:t>18 May 2022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ame of Projec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C4978B-5EC1-4885-B55D-2E97B15F37E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472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2E1410B-FD8A-F54E-8DB6-2A0E555115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23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8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410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52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_img_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4800"/>
              </a:lnSpc>
              <a:defRPr sz="4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8938" y="819506"/>
            <a:ext cx="2009775" cy="517915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202849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accent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886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70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815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EBFE3-289B-4FE0-8043-78956E77124E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39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6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1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D94D3-0380-4E0D-803F-642A6EB9E013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77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A1AEE-76EE-4951-83DD-CE047958DD30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458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0CFE6-E51E-4D79-8EA6-43A71DE2457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281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74D4-0823-44BF-B782-280251858FAC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accent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27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1A712-9C72-4CB3-B354-B9EF6B1A88EE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941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F6BD1A-2C52-473A-974F-2975390C3EE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72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80534B1D-B2C6-4AFE-93AB-CB2BCA3281A8}" type="datetime1">
              <a:rPr lang="en-US" smtClean="0"/>
              <a:t>5/1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32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B8F77-2F37-4B77-B795-F422F7B982B7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3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A79EB-A87E-4AE5-A5A0-535C2805C550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26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NZ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C285E9-4603-49DF-BFC4-2726FBD3E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17C56-A37E-481F-8117-941CA0FF4D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58435" y="1452563"/>
            <a:ext cx="3223965" cy="44989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BA04E5-4B6F-464F-85E5-A62D77BF6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F85FC-4FAE-4106-B054-ADF267FB4718}" type="datetimeFigureOut">
              <a:rPr lang="en-US"/>
              <a:t>5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96FFE-7AED-4E9C-AF00-84954701A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269519-721F-44BA-BCE2-4F52FE1FB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73CD9-D43E-4538-83DC-4A020423CB90}" type="slidenum">
              <a:rPr lang="en-US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7BDE80-43D7-4249-81B1-1FEFCADE7E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1452563"/>
            <a:ext cx="7302500" cy="44989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E44AF57A-B2A4-4EEC-94D6-44A13DD3603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422792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9275B-C80A-4288-ABAE-27A9EA0D16D1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205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C242E-1DB7-4F13-AE51-6884949BD025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08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5BA1DA1-D6DA-42A4-9B60-FB1C8AB69889}" type="datetime1">
              <a:rPr lang="en-US" smtClean="0"/>
              <a:t>5/18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2BD016-66E0-413E-B8F5-318F66BF71B6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45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BA1A7DB-C9F4-CF46-A300-1E25FFA0C8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3200" y="0"/>
            <a:ext cx="5248800" cy="5249688"/>
          </a:xfrm>
          <a:custGeom>
            <a:avLst/>
            <a:gdLst>
              <a:gd name="connsiteX0" fmla="*/ 0 w 5248800"/>
              <a:gd name="connsiteY0" fmla="*/ 0 h 5249688"/>
              <a:gd name="connsiteX1" fmla="*/ 5248800 w 5248800"/>
              <a:gd name="connsiteY1" fmla="*/ 0 h 5249688"/>
              <a:gd name="connsiteX2" fmla="*/ 5248800 w 5248800"/>
              <a:gd name="connsiteY2" fmla="*/ 4375266 h 5249688"/>
              <a:gd name="connsiteX3" fmla="*/ 4372800 w 5248800"/>
              <a:gd name="connsiteY3" fmla="*/ 5249688 h 5249688"/>
              <a:gd name="connsiteX4" fmla="*/ 4372800 w 5248800"/>
              <a:gd name="connsiteY4" fmla="*/ 4375266 h 5249688"/>
              <a:gd name="connsiteX5" fmla="*/ 3496800 w 5248800"/>
              <a:gd name="connsiteY5" fmla="*/ 5249688 h 5249688"/>
              <a:gd name="connsiteX6" fmla="*/ 3496800 w 5248800"/>
              <a:gd name="connsiteY6" fmla="*/ 4375266 h 5249688"/>
              <a:gd name="connsiteX7" fmla="*/ 2620800 w 5248800"/>
              <a:gd name="connsiteY7" fmla="*/ 5249688 h 5249688"/>
              <a:gd name="connsiteX8" fmla="*/ 2620800 w 5248800"/>
              <a:gd name="connsiteY8" fmla="*/ 4375266 h 5249688"/>
              <a:gd name="connsiteX9" fmla="*/ 1744800 w 5248800"/>
              <a:gd name="connsiteY9" fmla="*/ 5249688 h 5249688"/>
              <a:gd name="connsiteX10" fmla="*/ 1744800 w 5248800"/>
              <a:gd name="connsiteY10" fmla="*/ 4375266 h 5249688"/>
              <a:gd name="connsiteX11" fmla="*/ 868800 w 5248800"/>
              <a:gd name="connsiteY11" fmla="*/ 5249688 h 5249688"/>
              <a:gd name="connsiteX12" fmla="*/ 868800 w 5248800"/>
              <a:gd name="connsiteY12" fmla="*/ 4375266 h 5249688"/>
              <a:gd name="connsiteX13" fmla="*/ 0 w 5248800"/>
              <a:gd name="connsiteY13" fmla="*/ 5242501 h 524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48800" h="5249688">
                <a:moveTo>
                  <a:pt x="0" y="0"/>
                </a:moveTo>
                <a:lnTo>
                  <a:pt x="5248800" y="0"/>
                </a:lnTo>
                <a:lnTo>
                  <a:pt x="5248800" y="4375266"/>
                </a:lnTo>
                <a:lnTo>
                  <a:pt x="4372800" y="5249688"/>
                </a:lnTo>
                <a:lnTo>
                  <a:pt x="4372800" y="4375266"/>
                </a:lnTo>
                <a:lnTo>
                  <a:pt x="3496800" y="5249688"/>
                </a:lnTo>
                <a:lnTo>
                  <a:pt x="3496800" y="4375266"/>
                </a:lnTo>
                <a:lnTo>
                  <a:pt x="2620800" y="5249688"/>
                </a:lnTo>
                <a:lnTo>
                  <a:pt x="2620800" y="4375266"/>
                </a:lnTo>
                <a:lnTo>
                  <a:pt x="1744800" y="5249688"/>
                </a:lnTo>
                <a:lnTo>
                  <a:pt x="1744800" y="4375266"/>
                </a:lnTo>
                <a:lnTo>
                  <a:pt x="868800" y="5249688"/>
                </a:lnTo>
                <a:lnTo>
                  <a:pt x="868800" y="4375266"/>
                </a:lnTo>
                <a:lnTo>
                  <a:pt x="0" y="52425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48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AE1E6-1D19-48DA-A32C-D6513529919C}" type="datetime3">
              <a:rPr lang="en-US" altLang="en-US"/>
              <a:pPr>
                <a:defRPr/>
              </a:pPr>
              <a:t>18 May 2022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ame of Projec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C4978B-5EC1-4885-B55D-2E97B15F37E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12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F70B16-9173-4605-8852-01FCF7620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04F36A-EE50-4EE8-B507-FCC1EC014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CEA59B-9083-4AB4-BAE2-3F12A09D867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5E8D667-4E1E-45CD-B330-B95D936591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62A1CB-9E39-4741-826A-9C123516D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14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13172" y="6285600"/>
            <a:ext cx="871122" cy="288000"/>
          </a:xfrm>
        </p:spPr>
        <p:txBody>
          <a:bodyPr/>
          <a:lstStyle/>
          <a:p>
            <a:fld id="{5E335379-D90C-4ABA-B318-79CCB60505D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625" y="6286014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5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86555-4105-4DC1-B337-A51F31BE767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77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CFF33-CC40-4A52-99AE-6FDE0D40F1C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65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6BA36-0D54-4861-9CFB-D3C082E6FA9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037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988302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DDF13-B8DE-440E-A518-F2833607D80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78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98C10-868F-4E61-97E2-239027AD863B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231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BF11B-BFB4-47DF-B971-63BC6E8CFC72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21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33A36-3448-4A3C-9478-8E29ABDF1262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7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3F0A-4276-4615-849D-E4DC8A3C4CFD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70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59CA9-2236-478D-BD18-145AAF14C785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00D65B-C254-C040-BE55-1863269FE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800" y="331200"/>
            <a:ext cx="11412000" cy="5382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513F60-BD94-774E-8D4C-D510EB4242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0325" y="5919005"/>
            <a:ext cx="900000" cy="5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784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02519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30E8-35A3-4CE7-93BA-293D648C8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34905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98937FE-5C9B-40C9-8C55-48EB04CA346C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6990256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WHITE_TextSlide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82079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6C845-A32C-44B7-A75D-5F62CE485E1D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4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130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5682576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1A86010D-9F01-497B-8478-6CF04E7FA29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8FB484-E257-4956-8FB5-C4732E104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AF5AAFD-95B3-4157-BBB5-7CC40DB35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34BD8F-0033-4927-AA44-05B0484E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566406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hankYo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47513D5-8313-4D89-8E49-067C97135D8A}" type="datetime3">
              <a:rPr lang="en-US" smtClean="0"/>
              <a:pPr/>
              <a:t>18 May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F5EA913-91DE-4286-B6E6-13E414E822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579000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F76928BC-837A-46EF-828A-91EBEB0416D0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08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853F4E6-622D-6746-9222-95B6AD41F6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60000" y="0"/>
            <a:ext cx="7632000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2000" h="6858000">
                <a:moveTo>
                  <a:pt x="0" y="0"/>
                </a:moveTo>
                <a:lnTo>
                  <a:pt x="7632000" y="0"/>
                </a:lnTo>
                <a:lnTo>
                  <a:pt x="7632000" y="6858000"/>
                </a:lnTo>
                <a:lnTo>
                  <a:pt x="2291650" y="6858000"/>
                </a:lnTo>
                <a:lnTo>
                  <a:pt x="2291650" y="6444218"/>
                </a:lnTo>
                <a:cubicBezTo>
                  <a:pt x="2291650" y="2287588"/>
                  <a:pt x="2291650" y="2287588"/>
                  <a:pt x="2291650" y="2287588"/>
                </a:cubicBez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30000" y="5677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65A2D3D7-51CC-404A-8427-F7C864990F99}" type="datetime1">
              <a:rPr lang="en-US" smtClean="0"/>
              <a:t>5/1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5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3CC3C239-DE4B-4339-A07E-597C7E7023A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07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320A2EA7-2AF7-405A-AAB8-BA39D11E81D4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62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44908-4C32-460B-BB66-2C0D258FF8EC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89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12F65-E880-4472-AD1A-1049E5E88EDE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32AC5EC-FFAB-AD4C-9161-B37DA15AD7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5036" y="1530000"/>
            <a:ext cx="5329041" cy="5328000"/>
          </a:xfrm>
          <a:custGeom>
            <a:avLst/>
            <a:gdLst>
              <a:gd name="connsiteX0" fmla="*/ 0 w 5329041"/>
              <a:gd name="connsiteY0" fmla="*/ 0 h 5328000"/>
              <a:gd name="connsiteX1" fmla="*/ 5329041 w 5329041"/>
              <a:gd name="connsiteY1" fmla="*/ 0 h 5328000"/>
              <a:gd name="connsiteX2" fmla="*/ 5329041 w 5329041"/>
              <a:gd name="connsiteY2" fmla="*/ 900000 h 5328000"/>
              <a:gd name="connsiteX3" fmla="*/ 901041 w 5329041"/>
              <a:gd name="connsiteY3" fmla="*/ 900000 h 5328000"/>
              <a:gd name="connsiteX4" fmla="*/ 901041 w 5329041"/>
              <a:gd name="connsiteY4" fmla="*/ 5328000 h 5328000"/>
              <a:gd name="connsiteX5" fmla="*/ 0 w 5329041"/>
              <a:gd name="connsiteY5" fmla="*/ 5328000 h 53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29041" h="5328000">
                <a:moveTo>
                  <a:pt x="0" y="0"/>
                </a:moveTo>
                <a:lnTo>
                  <a:pt x="5329041" y="0"/>
                </a:lnTo>
                <a:lnTo>
                  <a:pt x="5329041" y="900000"/>
                </a:lnTo>
                <a:lnTo>
                  <a:pt x="901041" y="900000"/>
                </a:lnTo>
                <a:lnTo>
                  <a:pt x="901041" y="5328000"/>
                </a:lnTo>
                <a:lnTo>
                  <a:pt x="0" y="532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414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7883F-E648-46CA-BDA7-AB5EC485DDF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40750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8EB88-8647-4814-81B2-075AC23BF55D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301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A2ED-5048-4D94-9C35-FEB294B5F110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24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DDF13-B8DE-440E-A518-F2833607D80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66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F70B16-9173-4605-8852-01FCF7620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04F36A-EE50-4EE8-B507-FCC1EC014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CEA59B-9083-4AB4-BAE2-3F12A09D867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5E8D667-4E1E-45CD-B330-B95D936591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62A1CB-9E39-4741-826A-9C123516D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69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99989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529162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FA8FD-DD45-4DBF-BABF-0D5F3285B69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00D65B-C254-C040-BE55-1863269FE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800" y="331200"/>
            <a:ext cx="11412000" cy="5382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513F60-BD94-774E-8D4C-D510EB4242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0325" y="5919005"/>
            <a:ext cx="900000" cy="5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5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56289-7930-48E6-9D69-274794D4C427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bg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281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EFAB4-37AF-4F6A-AE1A-57343EF16BF8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0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8B20B-2488-4364-A3E8-DE631A3C27C1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99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FD217-8ADB-45D9-B744-7350AE0AA865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92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B1502-A692-4031-A5A1-FC04EC372D0E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4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74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585C6-C790-4F19-9301-C45A83FC0C0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26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8B528-1802-4835-808E-2E046BABA4B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436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Multi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7D73B-095D-40C5-87DF-D58C2E5ED2D7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828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827A8-F703-4B51-9FA4-82E2997FBE70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00D65B-C254-C040-BE55-1863269FE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800" y="331200"/>
            <a:ext cx="11412000" cy="5382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18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8EDA8-92B8-43C0-A76F-E665B300692C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tx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45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2F8E0-87AD-4D89-B940-0F3FD2536A44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79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6A0B8-73ED-42C7-9821-1F4D60DACF32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74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A9A865-1F2C-4BAC-8969-7C8A9DED4CEF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07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6600"/>
              </a:lnSpc>
              <a:defRPr sz="64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1C62A5C4-5D13-4322-A2E2-B8168EAA651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310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1626F09D-64F0-48B9-A4B5-F18AE86FA30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6722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55C4A-59CE-44C8-90E0-15DEBBCA5DEB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66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7C65C1-6092-418D-8DF6-824DD1EAAEEF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accent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354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E03C1-1867-4D1D-9725-54B60287B605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3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E43D8-09B4-453D-84B8-0DC09CD80744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743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A9D0-ADDC-44F4-BEF6-3A8862849F5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BA1A7DB-C9F4-CF46-A300-1E25FFA0C8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3200" y="0"/>
            <a:ext cx="5248800" cy="5249688"/>
          </a:xfrm>
          <a:custGeom>
            <a:avLst/>
            <a:gdLst>
              <a:gd name="connsiteX0" fmla="*/ 0 w 5248800"/>
              <a:gd name="connsiteY0" fmla="*/ 0 h 5249688"/>
              <a:gd name="connsiteX1" fmla="*/ 5248800 w 5248800"/>
              <a:gd name="connsiteY1" fmla="*/ 0 h 5249688"/>
              <a:gd name="connsiteX2" fmla="*/ 5248800 w 5248800"/>
              <a:gd name="connsiteY2" fmla="*/ 4375266 h 5249688"/>
              <a:gd name="connsiteX3" fmla="*/ 4372800 w 5248800"/>
              <a:gd name="connsiteY3" fmla="*/ 5249688 h 5249688"/>
              <a:gd name="connsiteX4" fmla="*/ 4372800 w 5248800"/>
              <a:gd name="connsiteY4" fmla="*/ 4375266 h 5249688"/>
              <a:gd name="connsiteX5" fmla="*/ 3496800 w 5248800"/>
              <a:gd name="connsiteY5" fmla="*/ 5249688 h 5249688"/>
              <a:gd name="connsiteX6" fmla="*/ 3496800 w 5248800"/>
              <a:gd name="connsiteY6" fmla="*/ 4375266 h 5249688"/>
              <a:gd name="connsiteX7" fmla="*/ 2620800 w 5248800"/>
              <a:gd name="connsiteY7" fmla="*/ 5249688 h 5249688"/>
              <a:gd name="connsiteX8" fmla="*/ 2620800 w 5248800"/>
              <a:gd name="connsiteY8" fmla="*/ 4375266 h 5249688"/>
              <a:gd name="connsiteX9" fmla="*/ 1744800 w 5248800"/>
              <a:gd name="connsiteY9" fmla="*/ 5249688 h 5249688"/>
              <a:gd name="connsiteX10" fmla="*/ 1744800 w 5248800"/>
              <a:gd name="connsiteY10" fmla="*/ 4375266 h 5249688"/>
              <a:gd name="connsiteX11" fmla="*/ 868800 w 5248800"/>
              <a:gd name="connsiteY11" fmla="*/ 5249688 h 5249688"/>
              <a:gd name="connsiteX12" fmla="*/ 868800 w 5248800"/>
              <a:gd name="connsiteY12" fmla="*/ 4375266 h 5249688"/>
              <a:gd name="connsiteX13" fmla="*/ 0 w 5248800"/>
              <a:gd name="connsiteY13" fmla="*/ 5242501 h 524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48800" h="5249688">
                <a:moveTo>
                  <a:pt x="0" y="0"/>
                </a:moveTo>
                <a:lnTo>
                  <a:pt x="5248800" y="0"/>
                </a:lnTo>
                <a:lnTo>
                  <a:pt x="5248800" y="4375266"/>
                </a:lnTo>
                <a:lnTo>
                  <a:pt x="4372800" y="5249688"/>
                </a:lnTo>
                <a:lnTo>
                  <a:pt x="4372800" y="4375266"/>
                </a:lnTo>
                <a:lnTo>
                  <a:pt x="3496800" y="5249688"/>
                </a:lnTo>
                <a:lnTo>
                  <a:pt x="3496800" y="4375266"/>
                </a:lnTo>
                <a:lnTo>
                  <a:pt x="2620800" y="5249688"/>
                </a:lnTo>
                <a:lnTo>
                  <a:pt x="2620800" y="4375266"/>
                </a:lnTo>
                <a:lnTo>
                  <a:pt x="1744800" y="5249688"/>
                </a:lnTo>
                <a:lnTo>
                  <a:pt x="1744800" y="4375266"/>
                </a:lnTo>
                <a:lnTo>
                  <a:pt x="868800" y="5249688"/>
                </a:lnTo>
                <a:lnTo>
                  <a:pt x="868800" y="4375266"/>
                </a:lnTo>
                <a:lnTo>
                  <a:pt x="0" y="52425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08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F70B16-9173-4605-8852-01FCF7620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04F36A-EE50-4EE8-B507-FCC1EC014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CEA59B-9083-4AB4-BAE2-3F12A09D867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5E8D667-4E1E-45CD-B330-B95D936591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62A1CB-9E39-4741-826A-9C123516D5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16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13172" y="6285600"/>
            <a:ext cx="871122" cy="288000"/>
          </a:xfrm>
        </p:spPr>
        <p:txBody>
          <a:bodyPr/>
          <a:lstStyle/>
          <a:p>
            <a:fld id="{5E335379-D90C-4ABA-B318-79CCB60505D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3625" y="6286014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4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86555-4105-4DC1-B337-A51F31BE767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8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CFF33-CC40-4A52-99AE-6FDE0D40F1C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369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6BA36-0D54-4861-9CFB-D3C082E6FA9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812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DDF13-B8DE-440E-A518-F2833607D80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900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98C10-868F-4E61-97E2-239027AD863B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920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A8FF16-3641-4F20-937D-88774DD5391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419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BF11B-BFB4-47DF-B971-63BC6E8CFC72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171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33A36-3448-4A3C-9478-8E29ABDF1262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77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3F0A-4276-4615-849D-E4DC8A3C4CFD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98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F76928BC-837A-46EF-828A-91EBEB0416D0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27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853F4E6-622D-6746-9222-95B6AD41F6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60000" y="0"/>
            <a:ext cx="7632000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2000" h="6858000">
                <a:moveTo>
                  <a:pt x="0" y="0"/>
                </a:moveTo>
                <a:lnTo>
                  <a:pt x="7632000" y="0"/>
                </a:lnTo>
                <a:lnTo>
                  <a:pt x="7632000" y="6858000"/>
                </a:lnTo>
                <a:lnTo>
                  <a:pt x="2291650" y="6858000"/>
                </a:lnTo>
                <a:lnTo>
                  <a:pt x="2291650" y="6444218"/>
                </a:lnTo>
                <a:cubicBezTo>
                  <a:pt x="2291650" y="2287588"/>
                  <a:pt x="2291650" y="2287588"/>
                  <a:pt x="2291650" y="2287588"/>
                </a:cubicBez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30000" y="5677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65A2D3D7-51CC-404A-8427-F7C864990F99}" type="datetime1">
              <a:rPr lang="en-US" smtClean="0"/>
              <a:t>5/1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10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3CC3C239-DE4B-4339-A07E-597C7E7023AC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54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320A2EA7-2AF7-405A-AAB8-BA39D11E81D4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80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44908-4C32-460B-BB66-2C0D258FF8EC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10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12F65-E880-4472-AD1A-1049E5E88EDE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32AC5EC-FFAB-AD4C-9161-B37DA15AD7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5036" y="1530000"/>
            <a:ext cx="5329041" cy="5328000"/>
          </a:xfrm>
          <a:custGeom>
            <a:avLst/>
            <a:gdLst>
              <a:gd name="connsiteX0" fmla="*/ 0 w 5329041"/>
              <a:gd name="connsiteY0" fmla="*/ 0 h 5328000"/>
              <a:gd name="connsiteX1" fmla="*/ 5329041 w 5329041"/>
              <a:gd name="connsiteY1" fmla="*/ 0 h 5328000"/>
              <a:gd name="connsiteX2" fmla="*/ 5329041 w 5329041"/>
              <a:gd name="connsiteY2" fmla="*/ 900000 h 5328000"/>
              <a:gd name="connsiteX3" fmla="*/ 901041 w 5329041"/>
              <a:gd name="connsiteY3" fmla="*/ 900000 h 5328000"/>
              <a:gd name="connsiteX4" fmla="*/ 901041 w 5329041"/>
              <a:gd name="connsiteY4" fmla="*/ 5328000 h 5328000"/>
              <a:gd name="connsiteX5" fmla="*/ 0 w 5329041"/>
              <a:gd name="connsiteY5" fmla="*/ 5328000 h 53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29041" h="5328000">
                <a:moveTo>
                  <a:pt x="0" y="0"/>
                </a:moveTo>
                <a:lnTo>
                  <a:pt x="5329041" y="0"/>
                </a:lnTo>
                <a:lnTo>
                  <a:pt x="5329041" y="900000"/>
                </a:lnTo>
                <a:lnTo>
                  <a:pt x="901041" y="900000"/>
                </a:lnTo>
                <a:lnTo>
                  <a:pt x="901041" y="5328000"/>
                </a:lnTo>
                <a:lnTo>
                  <a:pt x="0" y="532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555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7883F-E648-46CA-BDA7-AB5EC485DDF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10595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7AE91-E637-4CF8-AAA4-E39AB626E9F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80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A2ED-5048-4D94-9C35-FEB294B5F110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02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8A447-0A84-4962-A57F-A8E214B4E698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99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501F2-A724-4DB4-8B6E-DCDCF15A3FA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356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800" y="331200"/>
            <a:ext cx="5544000" cy="720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14A90-A87B-4307-9998-C013851913D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4" y="1476000"/>
            <a:ext cx="5549625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652EE855-6D7A-BE4E-8D1F-1BCCC1BD15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52000" y="0"/>
            <a:ext cx="5940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141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652EE855-6D7A-BE4E-8D1F-1BCCC1BD15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940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2000" y="331200"/>
            <a:ext cx="5544000" cy="720000"/>
          </a:xfrm>
        </p:spPr>
        <p:txBody>
          <a:bodyPr/>
          <a:lstStyle>
            <a:lvl1pPr>
              <a:lnSpc>
                <a:spcPts val="5400"/>
              </a:lnSpc>
              <a:defRPr lang="en-US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3F49C-1E7A-4142-A774-4B7140BA9C3A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52000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115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246813" y="0"/>
            <a:ext cx="594518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BDC34-E5B0-4989-ADA0-4CA138FEFC6D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91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1" y="0"/>
            <a:ext cx="59372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813" y="331200"/>
            <a:ext cx="5557837" cy="720000"/>
          </a:xfrm>
        </p:spPr>
        <p:txBody>
          <a:bodyPr/>
          <a:lstStyle>
            <a:lvl1pPr>
              <a:lnSpc>
                <a:spcPts val="54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BAD7B-C5E2-414D-965A-EEAEFDFA4DC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6813" y="1476000"/>
            <a:ext cx="5557837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2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465AA-6DA2-40F5-8637-83C3D92CA62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00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000" y="0"/>
            <a:ext cx="59400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E41C8-C738-4394-9CAC-D1A92EA39FCD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5548450" cy="309600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87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400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B68DB-823D-4833-B086-57014580DA0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6813" y="331201"/>
            <a:ext cx="5557837" cy="309600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37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67A34F5B-7D77-400B-B395-09896F14D53E}" type="datetime1">
              <a:rPr lang="en-US" smtClean="0"/>
              <a:t>5/1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06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571874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693B0-B0CB-4838-8ED7-62FC27E70E1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2913040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848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286125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264E63-4107-4987-8992-D487F797167E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670125"/>
            <a:ext cx="10440000" cy="2632249"/>
          </a:xfrm>
        </p:spPr>
        <p:txBody>
          <a:bodyPr/>
          <a:lstStyle>
            <a:lvl1pPr>
              <a:lnSpc>
                <a:spcPts val="3600"/>
              </a:lnSpc>
              <a:spcAft>
                <a:spcPts val="2400"/>
              </a:spcAft>
              <a:defRPr sz="3200" spc="-5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550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BDCD-2FF4-4700-9EBF-42E4AF70088A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74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3B283-966F-4697-A413-DA87D4A933D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9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E2C6A-42A5-4057-9D13-B965E350B436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18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1E1E8-4480-406E-8262-A61B386E6F76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12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C2AE6FC5-3C68-EA4E-9993-6A6F5A9DAD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A4CE6-0156-425E-A54D-98684D783F04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00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0B30F-1299-43F8-A3E9-85D234D4B23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BA1A7DB-C9F4-CF46-A300-1E25FFA0C8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3200" y="0"/>
            <a:ext cx="5248800" cy="5249688"/>
          </a:xfrm>
          <a:custGeom>
            <a:avLst/>
            <a:gdLst>
              <a:gd name="connsiteX0" fmla="*/ 0 w 5248800"/>
              <a:gd name="connsiteY0" fmla="*/ 0 h 5249688"/>
              <a:gd name="connsiteX1" fmla="*/ 5248800 w 5248800"/>
              <a:gd name="connsiteY1" fmla="*/ 0 h 5249688"/>
              <a:gd name="connsiteX2" fmla="*/ 5248800 w 5248800"/>
              <a:gd name="connsiteY2" fmla="*/ 4375266 h 5249688"/>
              <a:gd name="connsiteX3" fmla="*/ 4372800 w 5248800"/>
              <a:gd name="connsiteY3" fmla="*/ 5249688 h 5249688"/>
              <a:gd name="connsiteX4" fmla="*/ 4372800 w 5248800"/>
              <a:gd name="connsiteY4" fmla="*/ 4375266 h 5249688"/>
              <a:gd name="connsiteX5" fmla="*/ 3496800 w 5248800"/>
              <a:gd name="connsiteY5" fmla="*/ 5249688 h 5249688"/>
              <a:gd name="connsiteX6" fmla="*/ 3496800 w 5248800"/>
              <a:gd name="connsiteY6" fmla="*/ 4375266 h 5249688"/>
              <a:gd name="connsiteX7" fmla="*/ 2620800 w 5248800"/>
              <a:gd name="connsiteY7" fmla="*/ 5249688 h 5249688"/>
              <a:gd name="connsiteX8" fmla="*/ 2620800 w 5248800"/>
              <a:gd name="connsiteY8" fmla="*/ 4375266 h 5249688"/>
              <a:gd name="connsiteX9" fmla="*/ 1744800 w 5248800"/>
              <a:gd name="connsiteY9" fmla="*/ 5249688 h 5249688"/>
              <a:gd name="connsiteX10" fmla="*/ 1744800 w 5248800"/>
              <a:gd name="connsiteY10" fmla="*/ 4375266 h 5249688"/>
              <a:gd name="connsiteX11" fmla="*/ 868800 w 5248800"/>
              <a:gd name="connsiteY11" fmla="*/ 5249688 h 5249688"/>
              <a:gd name="connsiteX12" fmla="*/ 868800 w 5248800"/>
              <a:gd name="connsiteY12" fmla="*/ 4375266 h 5249688"/>
              <a:gd name="connsiteX13" fmla="*/ 0 w 5248800"/>
              <a:gd name="connsiteY13" fmla="*/ 5242501 h 524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48800" h="5249688">
                <a:moveTo>
                  <a:pt x="0" y="0"/>
                </a:moveTo>
                <a:lnTo>
                  <a:pt x="5248800" y="0"/>
                </a:lnTo>
                <a:lnTo>
                  <a:pt x="5248800" y="4375266"/>
                </a:lnTo>
                <a:lnTo>
                  <a:pt x="4372800" y="5249688"/>
                </a:lnTo>
                <a:lnTo>
                  <a:pt x="4372800" y="4375266"/>
                </a:lnTo>
                <a:lnTo>
                  <a:pt x="3496800" y="5249688"/>
                </a:lnTo>
                <a:lnTo>
                  <a:pt x="3496800" y="4375266"/>
                </a:lnTo>
                <a:lnTo>
                  <a:pt x="2620800" y="5249688"/>
                </a:lnTo>
                <a:lnTo>
                  <a:pt x="2620800" y="4375266"/>
                </a:lnTo>
                <a:lnTo>
                  <a:pt x="1744800" y="5249688"/>
                </a:lnTo>
                <a:lnTo>
                  <a:pt x="1744800" y="4375266"/>
                </a:lnTo>
                <a:lnTo>
                  <a:pt x="868800" y="5249688"/>
                </a:lnTo>
                <a:lnTo>
                  <a:pt x="868800" y="4375266"/>
                </a:lnTo>
                <a:lnTo>
                  <a:pt x="0" y="52425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038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 Multi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C12A4-4581-4374-9E99-066E424D059F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700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E2A5-0A94-224E-8A8B-B758F5D496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7200000" cy="1872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B138AAAB-E05E-409D-A2F3-19D307D9C275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658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D5E57-4528-4376-9625-85100E4A2C7B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37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853F4E6-622D-6746-9222-95B6AD41F6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60000" y="0"/>
            <a:ext cx="7632000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32000" h="6858000">
                <a:moveTo>
                  <a:pt x="0" y="0"/>
                </a:moveTo>
                <a:lnTo>
                  <a:pt x="7632000" y="0"/>
                </a:lnTo>
                <a:lnTo>
                  <a:pt x="7632000" y="6858000"/>
                </a:lnTo>
                <a:lnTo>
                  <a:pt x="2291650" y="6858000"/>
                </a:lnTo>
                <a:lnTo>
                  <a:pt x="2291650" y="6444218"/>
                </a:lnTo>
                <a:cubicBezTo>
                  <a:pt x="2291650" y="2287588"/>
                  <a:pt x="2291650" y="2287588"/>
                  <a:pt x="2291650" y="2287588"/>
                </a:cubicBez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30000" y="5677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F7F29FA-07B2-9246-BD54-54AEE122F8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21F44C67-667C-4974-8944-1885B413249C}" type="datetime1">
              <a:rPr lang="en-US" smtClean="0"/>
              <a:t>5/1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7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57DBADE5-6594-4CDA-B195-698BED9D301E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DC2DEB31-5E37-0B41-AEA9-67D88C042B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99600" y="-1"/>
            <a:ext cx="4597199" cy="4593599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97199" h="4593599">
                <a:moveTo>
                  <a:pt x="0" y="0"/>
                </a:moveTo>
                <a:lnTo>
                  <a:pt x="4597199" y="0"/>
                </a:lnTo>
                <a:lnTo>
                  <a:pt x="4597199" y="4593599"/>
                </a:ln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56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tyl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D5AB6-3BDE-8946-9C08-9BEBB7A2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917474" y="6285600"/>
            <a:ext cx="720000" cy="28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3357B-3FE8-5841-80A6-42A2944A8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947600" y="6285600"/>
            <a:ext cx="720000" cy="288000"/>
          </a:xfrm>
        </p:spPr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fld id="{91F0294E-B9DB-491B-946F-5496C1595F0D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50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E89E-A86E-44FF-A7EA-734F7A3E26E4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183D33-F157-7142-B2D3-D4E025F837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43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DC0791-1B30-4CA8-AD15-1F4CEE30E6E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32AC5EC-FFAB-AD4C-9161-B37DA15AD7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5036" y="1530000"/>
            <a:ext cx="5329041" cy="5328000"/>
          </a:xfrm>
          <a:custGeom>
            <a:avLst/>
            <a:gdLst>
              <a:gd name="connsiteX0" fmla="*/ 0 w 5329041"/>
              <a:gd name="connsiteY0" fmla="*/ 0 h 5328000"/>
              <a:gd name="connsiteX1" fmla="*/ 5329041 w 5329041"/>
              <a:gd name="connsiteY1" fmla="*/ 0 h 5328000"/>
              <a:gd name="connsiteX2" fmla="*/ 5329041 w 5329041"/>
              <a:gd name="connsiteY2" fmla="*/ 900000 h 5328000"/>
              <a:gd name="connsiteX3" fmla="*/ 901041 w 5329041"/>
              <a:gd name="connsiteY3" fmla="*/ 900000 h 5328000"/>
              <a:gd name="connsiteX4" fmla="*/ 901041 w 5329041"/>
              <a:gd name="connsiteY4" fmla="*/ 5328000 h 5328000"/>
              <a:gd name="connsiteX5" fmla="*/ 0 w 5329041"/>
              <a:gd name="connsiteY5" fmla="*/ 5328000 h 53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29041" h="5328000">
                <a:moveTo>
                  <a:pt x="0" y="0"/>
                </a:moveTo>
                <a:lnTo>
                  <a:pt x="5329041" y="0"/>
                </a:lnTo>
                <a:lnTo>
                  <a:pt x="5329041" y="900000"/>
                </a:lnTo>
                <a:lnTo>
                  <a:pt x="901041" y="900000"/>
                </a:lnTo>
                <a:lnTo>
                  <a:pt x="901041" y="5328000"/>
                </a:lnTo>
                <a:lnTo>
                  <a:pt x="0" y="532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152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  <a:noFill/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3DEBA-6DF3-4D97-8C6C-32BA8FBE13B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  <a:noFill/>
        </p:spPr>
        <p:txBody>
          <a:bodyPr/>
          <a:lstStyle>
            <a:lvl1pPr>
              <a:lnSpc>
                <a:spcPts val="3400"/>
              </a:lnSpc>
              <a:spcBef>
                <a:spcPts val="600"/>
              </a:spcBef>
              <a:spcAft>
                <a:spcPts val="600"/>
              </a:spcAft>
              <a:defRPr sz="3000">
                <a:solidFill>
                  <a:schemeClr val="tx1"/>
                </a:solidFill>
                <a:latin typeface="+mn-lt"/>
              </a:defRPr>
            </a:lvl1pPr>
            <a:lvl2pPr marL="216000" indent="-216000"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tx1"/>
                </a:solidFill>
              </a:defRPr>
            </a:lvl2pPr>
            <a:lvl3pPr marL="57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3pPr>
            <a:lvl4pPr marL="1296000" indent="-36000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tx1"/>
                </a:solidFill>
              </a:defRPr>
            </a:lvl4pPr>
            <a:lvl5pPr marL="0">
              <a:lnSpc>
                <a:spcPts val="3400"/>
              </a:lnSpc>
              <a:spcAft>
                <a:spcPts val="600"/>
              </a:spcAft>
              <a:defRPr sz="3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106420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76FF0-E94C-456E-A62B-6C909F0D6794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A2E6C500-BE65-7D4D-9151-1D3E24C5AE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500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1F293-D536-4C53-9C9C-CD57C311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1CD4F3-A07E-49B4-B858-8B26FB3720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89B8E0-EE76-418A-BB36-397ABB2667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8F6C9A-2378-4EEA-9C8F-5F1B365817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59BD03-C145-4F0B-AB78-2F0C999C97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F24120-AD00-4DAA-ADD9-6CF087E83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2AB21-ECCB-424D-BDB2-3BF5508E97C2}" type="datetime1">
              <a:rPr lang="en-US" smtClean="0"/>
              <a:t>5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179D4B-4EBF-401D-B27F-19FAE4BF1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716FBC-6FE7-4E94-981C-EBCD80AEF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5C794-3E93-4FB8-A0A8-C152A2AD52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64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E1082-769B-4AB1-91F7-FB124FC990EF}" type="datetime1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4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1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7E60-A9A5-4F81-A67C-3358C163DEB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166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33B08-E890-4C09-903D-937D1133EB23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753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0FD8A-BBB0-4607-8693-BF61E4391011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00D65B-C254-C040-BE55-1863269FE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800" y="331200"/>
            <a:ext cx="11412000" cy="5382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513F60-BD94-774E-8D4C-D510EB4242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0325" y="5919005"/>
            <a:ext cx="900000" cy="5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26C1E-D8BC-4104-B1B9-29FC23779D8F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200" baseline="0">
                <a:solidFill>
                  <a:schemeClr val="bg1"/>
                </a:solidFill>
                <a:latin typeface="Aktiv Grotesk Light" panose="020B03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70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65C854-1A26-499B-AB65-689195946FCB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2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ext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6BEC4E-9429-4417-ABEC-0891539F9B28}" type="datetime1">
              <a:rPr lang="en-US" smtClean="0"/>
              <a:t>5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88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B76D1-A380-4CD6-995C-E9048D7E4A58}" type="datetime1">
              <a:rPr lang="en-US" smtClean="0"/>
              <a:t>5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36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5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905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39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800" y="331200"/>
            <a:ext cx="5544000" cy="720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4" y="1476000"/>
            <a:ext cx="5549625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652EE855-6D7A-BE4E-8D1F-1BCCC1BD15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52000" y="0"/>
            <a:ext cx="5940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1600" y="5918400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56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652EE855-6D7A-BE4E-8D1F-1BCCC1BD15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940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2000" y="331200"/>
            <a:ext cx="5544000" cy="720000"/>
          </a:xfrm>
        </p:spPr>
        <p:txBody>
          <a:bodyPr/>
          <a:lstStyle>
            <a:lvl1pPr>
              <a:lnSpc>
                <a:spcPts val="5400"/>
              </a:lnSpc>
              <a:defRPr lang="en-US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52000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63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246813" y="0"/>
            <a:ext cx="594518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0" i="0" kern="1200" spc="-50" baseline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083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6.xml"/><Relationship Id="rId16" Type="http://schemas.openxmlformats.org/officeDocument/2006/relationships/theme" Target="../theme/theme1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87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9.xml"/><Relationship Id="rId7" Type="http://schemas.openxmlformats.org/officeDocument/2006/relationships/theme" Target="../theme/theme21.xml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2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8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E9422218-C6BB-4174-A724-D00C991FBCD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41518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20" r:id="rId5"/>
    <p:sldLayoutId id="2147483703" r:id="rId6"/>
    <p:sldLayoutId id="2147483770" r:id="rId7"/>
    <p:sldLayoutId id="2147483704" r:id="rId8"/>
    <p:sldLayoutId id="2147483766" r:id="rId9"/>
    <p:sldLayoutId id="2147483705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 userDrawn="1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fld id="{0AA2343A-A6FA-422B-9DF9-EFBF3243D6C7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1930006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99416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86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65846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603504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70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16505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4945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4" r:id="rId13"/>
    <p:sldLayoutId id="2147483925" r:id="rId14"/>
    <p:sldLayoutId id="2147483926" r:id="rId1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164510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803931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26F8CF18-3E76-4F3C-85A8-12BB95E18B14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36552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B4E992B0-1C9A-41F1-8779-5C6BFA24DEB3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648290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9" r:id="rId4"/>
    <p:sldLayoutId id="2147483741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 userDrawn="1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B85A9A95-0068-41B9-825B-32543988677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568307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8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1DE7C4-EADF-49A5-94C9-295DA7102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485900"/>
            <a:ext cx="11429325" cy="42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5D38B6-3878-4DD8-B8F9-92C491ABF8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54503-8F56-486A-BEEB-415EA4A643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59C21-CE9A-4D3A-AB80-ABF8F4D8A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162324"/>
            <a:ext cx="457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58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40">
          <p15:clr>
            <a:srgbClr val="5ACBF0"/>
          </p15:clr>
        </p15:guide>
        <p15:guide id="4" pos="240">
          <p15:clr>
            <a:srgbClr val="5ACBF0"/>
          </p15:clr>
        </p15:guide>
        <p15:guide id="5" pos="7440">
          <p15:clr>
            <a:srgbClr val="5ACBF0"/>
          </p15:clr>
        </p15:guide>
        <p15:guide id="6" pos="3720">
          <p15:clr>
            <a:srgbClr val="5ACBF0"/>
          </p15:clr>
        </p15:guide>
        <p15:guide id="7" pos="3960">
          <p15:clr>
            <a:srgbClr val="5ACBF0"/>
          </p15:clr>
        </p15:guide>
        <p15:guide id="8" orient="horz" pos="528">
          <p15:clr>
            <a:srgbClr val="5ACBF0"/>
          </p15:clr>
        </p15:guide>
        <p15:guide id="9" orient="horz" pos="936">
          <p15:clr>
            <a:srgbClr val="5ACBF0"/>
          </p15:clr>
        </p15:guide>
        <p15:guide id="10" orient="horz" pos="3624">
          <p15:clr>
            <a:srgbClr val="5ACBF0"/>
          </p15:clr>
        </p15:guide>
        <p15:guide id="11" orient="horz" pos="4080">
          <p15:clr>
            <a:srgbClr val="5ACBF0"/>
          </p15:clr>
        </p15:guide>
        <p15:guide id="12" orient="horz" pos="1200">
          <p15:clr>
            <a:srgbClr val="5ACBF0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14ECF219-CBC5-49C9-847D-639B20A4035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11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4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fld id="{B5732BD2-8EE7-4251-AFCD-4FA576A99CF2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1452606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62" r:id="rId4"/>
    <p:sldLayoutId id="2147483763" r:id="rId5"/>
    <p:sldLayoutId id="2147483767" r:id="rId6"/>
    <p:sldLayoutId id="2147483764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bg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 userDrawn="1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fld id="{CF23B38F-B05F-4589-86F0-95C97782B814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bg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59618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65" r:id="rId3"/>
    <p:sldLayoutId id="2147483714" r:id="rId4"/>
    <p:sldLayoutId id="2147483710" r:id="rId5"/>
    <p:sldLayoutId id="2147483712" r:id="rId6"/>
    <p:sldLayoutId id="2147483768" r:id="rId7"/>
    <p:sldLayoutId id="2147483713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 userDrawn="1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5857A97D-AA93-4143-A0DC-5C12C279E8D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615229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69" r:id="rId4"/>
    <p:sldLayoutId id="2147483754" r:id="rId5"/>
    <p:sldLayoutId id="2147483756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 userDrawn="1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B85A9A95-0068-41B9-825B-32543988677B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518485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14ECF219-CBC5-49C9-847D-639B20A40359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0811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2170ED32-93DC-4B3C-B014-D826272A4D28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381394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54E3D9DE-8977-4C93-AED8-8249BFB5A6F6}" type="datetime1">
              <a:rPr lang="en-US" smtClean="0"/>
              <a:t>5/1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 userDrawn="1"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225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8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Tx/>
        <a:buNone/>
        <a:defRPr sz="28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8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oleObject" Target="../embeddings/oleObject3.bin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notesSlide" Target="../notesSlides/notesSlide13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slideLayout" Target="../slideLayouts/slideLayout218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chart" Target="../charts/chart5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image" Target="../media/image2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0.xml"/><Relationship Id="rId7" Type="http://schemas.openxmlformats.org/officeDocument/2006/relationships/image" Target="../media/image2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Relationship Id="rId4" Type="http://schemas.openxmlformats.org/officeDocument/2006/relationships/image" Target="../media/image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7">
            <a:extLst>
              <a:ext uri="{FF2B5EF4-FFF2-40B4-BE49-F238E27FC236}">
                <a16:creationId xmlns:a16="http://schemas.microsoft.com/office/drawing/2014/main" id="{61719167-9AFC-DE4E-B96F-0E9F4E75798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344245" y="3307810"/>
            <a:ext cx="4356847" cy="1748284"/>
          </a:xfrm>
        </p:spPr>
        <p:txBody>
          <a:bodyPr/>
          <a:lstStyle/>
          <a:p>
            <a:r>
              <a:rPr lang="en-GB" b="1" dirty="0"/>
              <a:t>IATA Update </a:t>
            </a:r>
          </a:p>
          <a:p>
            <a:r>
              <a:rPr lang="en-GB" b="1" dirty="0"/>
              <a:t>Elena Ciuperceanu</a:t>
            </a:r>
            <a:br>
              <a:rPr lang="en-GB" b="1" dirty="0"/>
            </a:br>
            <a:r>
              <a:rPr lang="en-GB" b="1" dirty="0"/>
              <a:t>IATA UK &amp; Ireland 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8EBC734-0E89-CC45-A68A-9AA8FBB43BD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A54F1B-38B7-5742-8F2E-C9513F76952D}"/>
              </a:ext>
            </a:extLst>
          </p:cNvPr>
          <p:cNvSpPr>
            <a:spLocks/>
          </p:cNvSpPr>
          <p:nvPr/>
        </p:nvSpPr>
        <p:spPr>
          <a:xfrm>
            <a:off x="-3456000" y="0"/>
            <a:ext cx="3312000" cy="34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  <a:latin typeface="+mj-lt"/>
              </a:rPr>
              <a:t>TO </a:t>
            </a:r>
            <a:r>
              <a:rPr lang="en-GB" sz="1400" b="0" i="0" dirty="0">
                <a:solidFill>
                  <a:schemeClr val="tx1"/>
                </a:solidFill>
                <a:latin typeface="+mj-lt"/>
              </a:rPr>
              <a:t>REPLACE IMAGE:</a:t>
            </a:r>
            <a:endParaRPr lang="en-GB" sz="1400" dirty="0">
              <a:solidFill>
                <a:schemeClr val="tx1"/>
              </a:solidFill>
            </a:endParaRP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chemeClr val="tx1"/>
                </a:solidFill>
              </a:rPr>
              <a:t>Click on the picture, h</a:t>
            </a:r>
            <a:r>
              <a:rPr lang="en-GB" sz="1400" dirty="0">
                <a:solidFill>
                  <a:schemeClr val="tx1"/>
                </a:solidFill>
              </a:rPr>
              <a:t>it 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Delete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Click the 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‘Add Picture</a:t>
            </a:r>
            <a:r>
              <a:rPr lang="en-GB" sz="1400" dirty="0">
                <a:solidFill>
                  <a:schemeClr val="tx1"/>
                </a:solidFill>
              </a:rPr>
              <a:t>’ icon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Find your image &amp; click 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‘Insert’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Right click on the image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From the drop down menu select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  <a:latin typeface="+mj-lt"/>
              </a:rPr>
              <a:t>‘Send to Back’ </a:t>
            </a:r>
            <a:r>
              <a:rPr lang="en-GB" sz="1400" dirty="0">
                <a:solidFill>
                  <a:schemeClr val="tx1"/>
                </a:solidFill>
              </a:rPr>
              <a:t>to reveal the 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text &amp; logo</a:t>
            </a:r>
            <a:endParaRPr lang="en-GB" sz="1400" b="0" i="0" dirty="0">
              <a:solidFill>
                <a:schemeClr val="tx1"/>
              </a:solidFill>
            </a:endParaRPr>
          </a:p>
          <a:p>
            <a:endParaRPr lang="en-GB" sz="1400" dirty="0">
              <a:solidFill>
                <a:schemeClr val="tx1"/>
              </a:solidFill>
            </a:endParaRPr>
          </a:p>
          <a:p>
            <a:r>
              <a:rPr lang="en-GB" sz="1400" b="0" i="0" dirty="0">
                <a:solidFill>
                  <a:schemeClr val="tx1"/>
                </a:solidFill>
                <a:latin typeface="+mj-lt"/>
              </a:rPr>
              <a:t>** Please note that the date on the bottom left, automatically updates</a:t>
            </a:r>
            <a:endParaRPr lang="en-US" sz="1400" b="0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Subtitle 16">
            <a:extLst>
              <a:ext uri="{FF2B5EF4-FFF2-40B4-BE49-F238E27FC236}">
                <a16:creationId xmlns:a16="http://schemas.microsoft.com/office/drawing/2014/main" id="{00C4AE34-32E7-4EAF-89D7-47B444309BBE}"/>
              </a:ext>
            </a:extLst>
          </p:cNvPr>
          <p:cNvSpPr txBox="1">
            <a:spLocks/>
          </p:cNvSpPr>
          <p:nvPr/>
        </p:nvSpPr>
        <p:spPr>
          <a:xfrm>
            <a:off x="538947" y="1818043"/>
            <a:ext cx="4549732" cy="11618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34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None/>
              <a:defRPr sz="18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None/>
              <a:defRPr sz="16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Tx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Air Conference  11May2022</a:t>
            </a:r>
            <a:endParaRPr lang="en-GB" b="1" dirty="0"/>
          </a:p>
        </p:txBody>
      </p:sp>
      <p:pic>
        <p:nvPicPr>
          <p:cNvPr id="3074" name="Picture 2" descr="The BTA - Business Travel Association - General Coronavirus Advice">
            <a:extLst>
              <a:ext uri="{FF2B5EF4-FFF2-40B4-BE49-F238E27FC236}">
                <a16:creationId xmlns:a16="http://schemas.microsoft.com/office/drawing/2014/main" id="{8E7C682B-ED24-4DF6-A7E4-D1ACF0C02F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47" y="505610"/>
            <a:ext cx="2981325" cy="1312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42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B3C1AE2-E090-440E-B2CF-77A7DFA999D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0" y="-368808"/>
            <a:ext cx="12192000" cy="75956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008250" y="1295400"/>
            <a:ext cx="7877176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Sustainability 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65889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EB4B781-F40E-43E7-9560-28ACDED5B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200" dirty="0"/>
              <a:t>Achieving net zero globally by 2050 needs collective effort </a:t>
            </a:r>
            <a:endParaRPr lang="en-US" dirty="0"/>
          </a:p>
        </p:txBody>
      </p:sp>
      <p:pic>
        <p:nvPicPr>
          <p:cNvPr id="11" name="Picture Placeholder 10" descr="Chart, pie chart&#10;&#10;Description automatically generated">
            <a:extLst>
              <a:ext uri="{FF2B5EF4-FFF2-40B4-BE49-F238E27FC236}">
                <a16:creationId xmlns:a16="http://schemas.microsoft.com/office/drawing/2014/main" id="{6A21862B-3384-459F-9C10-C822FF3102E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625" y="1251857"/>
            <a:ext cx="5201697" cy="4762265"/>
          </a:xfr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FEFDAD-BBCE-4213-980A-365E619C88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58543" y="1533801"/>
            <a:ext cx="5823858" cy="4900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Combination of measures </a:t>
            </a:r>
          </a:p>
          <a:p>
            <a:r>
              <a:rPr lang="en-US" dirty="0"/>
              <a:t>Sustainable Aviation Fuel, new,  technologies, operational and infrastructure improvements, and offsetting/carbon capture. 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Collective effort </a:t>
            </a:r>
          </a:p>
          <a:p>
            <a:r>
              <a:rPr lang="en-US" dirty="0"/>
              <a:t>of the entire industry together with governments, oil producers and investors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CFD37410-730D-4EB6-9668-F7B2F4B7A1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8038" y="5925070"/>
            <a:ext cx="1085403" cy="662841"/>
          </a:xfrm>
          <a:prstGeom prst="rect">
            <a:avLst/>
          </a:prstGeom>
          <a:solidFill>
            <a:schemeClr val="bg1"/>
          </a:solid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449396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EE68B7B-D439-4658-9498-5B518732665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COVID restrictions easing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303341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9BF0E24-4C94-4A30-B754-D67DA91B28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9BF0E24-4C94-4A30-B754-D67DA91B2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728950-71AA-4557-917B-B00BB3236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38" y="383585"/>
            <a:ext cx="11429324" cy="860701"/>
          </a:xfrm>
        </p:spPr>
        <p:txBody>
          <a:bodyPr vert="horz"/>
          <a:lstStyle/>
          <a:p>
            <a:r>
              <a:rPr lang="en-US" sz="3600" dirty="0"/>
              <a:t>International recovery particularly slow in Asia</a:t>
            </a:r>
            <a:br>
              <a:rPr lang="en-US" sz="3600" dirty="0"/>
            </a:br>
            <a:r>
              <a:rPr lang="en-US" sz="2800" dirty="0"/>
              <a:t>China may not reopen before H2 22. Rest of region reopens gradually</a:t>
            </a:r>
            <a:endParaRPr lang="en-US" sz="36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65A9CE-E9E8-4BAB-B9CE-7B50F8A5B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CEB40-7C69-47E5-9106-E566935D3F53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F2BC3A-2038-4782-A214-F7DBFDA36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IATA/Tourism Economics Air Passenger Foreca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828C23-A53F-4CFB-A7F6-E88D33389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2FB120-56D4-4880-A18B-EF592BF233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817" y="1309154"/>
            <a:ext cx="11040813" cy="503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8336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B14FF40-7712-4DC8-A8B3-CA5E897FA1B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-181642" y="-1392302"/>
            <a:ext cx="12373642" cy="825115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Pent up demand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187614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4024C-8CAA-45BF-83CA-5B12B926E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Travel demand is still fragile in some markets</a:t>
            </a:r>
            <a:br>
              <a:rPr lang="en-US" sz="4000" dirty="0"/>
            </a:br>
            <a:r>
              <a:rPr lang="en-US" sz="2800" dirty="0"/>
              <a:t>Recovery led by price-sensitive leisure travelers</a:t>
            </a:r>
            <a:br>
              <a:rPr lang="en-US" sz="4000" dirty="0"/>
            </a:br>
            <a:br>
              <a:rPr lang="en-US" sz="4000" dirty="0"/>
            </a:br>
            <a:br>
              <a:rPr lang="en-US" sz="4000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AF516A-B48C-4F45-BA3B-CB091FFA3C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874344" y="6162324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8937FE-5C9B-40C9-8C55-48EB04CA346C}" type="datetime3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y 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D5E74-812C-4F8E-B0D7-91B989C7F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681703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Source: IATA Monthly Statist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B2590C-9B9F-4033-9D4D-7F1FE99E5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5D36E7CA-E5CD-4250-8D0D-87DF5A4479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41698022"/>
              </p:ext>
            </p:extLst>
          </p:nvPr>
        </p:nvGraphicFramePr>
        <p:xfrm>
          <a:off x="381000" y="1438274"/>
          <a:ext cx="11430000" cy="4550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2887740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4AC0966-AA2D-4BD0-BAD1-2D6C1D94353D}"/>
              </a:ext>
            </a:extLst>
          </p:cNvPr>
          <p:cNvSpPr txBox="1"/>
          <p:nvPr/>
        </p:nvSpPr>
        <p:spPr>
          <a:xfrm>
            <a:off x="431800" y="6337300"/>
            <a:ext cx="3848100" cy="342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dirty="0"/>
              <a:t>Source: </a:t>
            </a:r>
            <a:r>
              <a:rPr lang="en-GB" dirty="0" err="1"/>
              <a:t>Eurocontrol</a:t>
            </a:r>
            <a:r>
              <a:rPr lang="en-GB" dirty="0"/>
              <a:t>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4FEF83-3D56-4E26-950C-36EF60537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712" y="566344"/>
            <a:ext cx="10704576" cy="514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842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A0F301-EA0F-40B7-9CA6-5F534E90BBA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0" y="-715018"/>
            <a:ext cx="12192000" cy="81605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Cargo has flourished 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7768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35E86F-5407-4C5E-A1CF-68B0347F1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r cargo has remained resilient throughout the  pandemic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E4119C-8EEE-4E19-A39A-34CAAD3CE1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625" y="1574800"/>
            <a:ext cx="7556225" cy="53086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B9D6FA-1502-4D25-85AD-3722A8AD5183}"/>
              </a:ext>
            </a:extLst>
          </p:cNvPr>
          <p:cNvSpPr txBox="1"/>
          <p:nvPr/>
        </p:nvSpPr>
        <p:spPr>
          <a:xfrm>
            <a:off x="8064500" y="1549400"/>
            <a:ext cx="3987800" cy="398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spc="-50" dirty="0">
                <a:solidFill>
                  <a:schemeClr val="accent1"/>
                </a:solidFill>
                <a:ea typeface="+mj-ea"/>
                <a:cs typeface="+mj-cs"/>
              </a:rPr>
              <a:t>2.9% YoY cargo growth (Feb 2022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spc="-50" dirty="0">
                <a:solidFill>
                  <a:schemeClr val="accent1"/>
                </a:solidFill>
                <a:ea typeface="+mj-ea"/>
                <a:cs typeface="+mj-cs"/>
              </a:rPr>
              <a:t>Belly hold capacity returned strongly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spc="-50" dirty="0">
                <a:solidFill>
                  <a:schemeClr val="accent1"/>
                </a:solidFill>
                <a:ea typeface="+mj-ea"/>
                <a:cs typeface="+mj-cs"/>
              </a:rPr>
              <a:t>This helped to sustain passenger airline financial health </a:t>
            </a:r>
          </a:p>
        </p:txBody>
      </p:sp>
    </p:spTree>
    <p:extLst>
      <p:ext uri="{BB962C8B-B14F-4D97-AF65-F5344CB8AC3E}">
        <p14:creationId xmlns:p14="http://schemas.microsoft.com/office/powerpoint/2010/main" val="79164722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455745C-7A8A-4D29-97E3-AC88188B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But the World facing a new challenge:</a:t>
            </a:r>
            <a:br>
              <a:rPr lang="en-US" dirty="0"/>
            </a:br>
            <a:r>
              <a:rPr lang="en-US" sz="2800" dirty="0"/>
              <a:t>Attention turns to </a:t>
            </a:r>
            <a:r>
              <a:rPr lang="en-US" sz="2800" b="1" dirty="0"/>
              <a:t>Eastern Europe </a:t>
            </a:r>
            <a:r>
              <a:rPr lang="en-US" sz="2800" dirty="0"/>
              <a:t>as COVID concerns fad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D4F72A-8565-410F-9550-3FC30EC46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F5EBA1-C1C2-4F6F-970D-CFE4A81E1DB0}" type="datetime3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y 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ED292-F655-4801-8F5F-63DE76B64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Source: Google trend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1B5F1B-6E3E-46A9-9EC7-A7F64F9B9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63002D0A-7270-42A9-BD0A-57AF146920E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0324" y="1343222"/>
          <a:ext cx="11430000" cy="492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515034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93B1B-D1AA-4883-8005-1D52093D8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17055"/>
            <a:ext cx="11429324" cy="609398"/>
          </a:xfrm>
        </p:spPr>
        <p:txBody>
          <a:bodyPr anchor="t">
            <a:normAutofit fontScale="90000"/>
          </a:bodyPr>
          <a:lstStyle/>
          <a:p>
            <a:r>
              <a:rPr lang="en-GB" sz="6000" kern="0" dirty="0">
                <a:effectLst/>
              </a:rPr>
              <a:t>A global shock that no one expected</a:t>
            </a:r>
            <a:br>
              <a:rPr lang="en-US" sz="2100" b="1" kern="0" dirty="0">
                <a:effectLst/>
              </a:rPr>
            </a:br>
            <a:endParaRPr lang="en-US" sz="2100" dirty="0"/>
          </a:p>
        </p:txBody>
      </p:sp>
      <p:pic>
        <p:nvPicPr>
          <p:cNvPr id="1028" name="Picture 2">
            <a:extLst>
              <a:ext uri="{FF2B5EF4-FFF2-40B4-BE49-F238E27FC236}">
                <a16:creationId xmlns:a16="http://schemas.microsoft.com/office/drawing/2014/main" id="{4055D553-F436-4617-A4D4-C895BDC24E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60384" y="1155458"/>
            <a:ext cx="10674630" cy="533731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693947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C142B469-B879-4376-B998-C5452A2BD8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26" imgW="520" imgH="520" progId="TCLayout.ActiveDocument.1">
                  <p:embed/>
                </p:oleObj>
              </mc:Choice>
              <mc:Fallback>
                <p:oleObj name="think-cell Slide" r:id="rId26" imgW="520" imgH="52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C142B469-B879-4376-B998-C5452A2BD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86DF03-F9D4-4C8A-A790-8DD3E980F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61938"/>
            <a:ext cx="11429324" cy="1038225"/>
          </a:xfrm>
        </p:spPr>
        <p:txBody>
          <a:bodyPr vert="horz"/>
          <a:lstStyle/>
          <a:p>
            <a:r>
              <a:rPr lang="en-US" sz="4000" b="1" dirty="0"/>
              <a:t>10 most affected countries </a:t>
            </a:r>
            <a:r>
              <a:rPr lang="en-US" sz="4000" dirty="0"/>
              <a:t>are in Eastern Europe: </a:t>
            </a:r>
            <a:r>
              <a:rPr lang="en-US" sz="2800" dirty="0"/>
              <a:t>Ukraine and Moldova show the largest fall in bookings</a:t>
            </a:r>
            <a:br>
              <a:rPr lang="en-US" sz="4000" dirty="0"/>
            </a:br>
            <a:endParaRPr lang="en-US" sz="4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4F7CD-AAD9-4274-843D-1900D851B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8937FE-5C9B-40C9-8C55-48EB04CA346C}" type="datetime3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y 202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82E6B1-54B1-4739-8448-1064840CD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8D88D401-6A84-4F46-AD40-8D3AFE8533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73125" y="2247900"/>
          <a:ext cx="10252075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44588" y="5216525"/>
            <a:ext cx="630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0862650-CB33-4649-B598-A7DDE57B76BB}" type="datetime'''U''''''''''''''''''kr''''''''''a''''''''''i''''ne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Ukrain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14550" y="5216525"/>
            <a:ext cx="709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FF281D-49C8-4F14-999D-89B79DF5D79C}" type="datetime'''''''M''''o''''l''''''''''''''d''''''''o''v''''''a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oldov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30563" y="3286125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D7F1F4-01A9-4C3D-B6F3-E6EE60D50357}" type="datetime'''''''''-''5''''''''''''2''''''%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2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30538" y="5216525"/>
            <a:ext cx="8921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D7E4BC-244C-4537-858E-0B2844ED4CB7}" type="datetime'''Ru''''ss''''ian F''e''''''d''''''''era''''tio''n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ussian Federatio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335C683-9446-4CAB-AED3-C0309E70395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38625" y="5216525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A1F27B-4216-42E0-9790-6160527B459A}" type="datetime'''La''''''t''''''''''''v''i''''''''''''''''''a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tv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F14DAA-6A9A-4235-B6F4-990F65D134E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60963" y="5216525"/>
            <a:ext cx="666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22A77C4-C1DA-4068-86BE-49B57590F8D4}" type="datetime'''''''''''''Bu''''lgar''''''''''''''''''i''''''a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ulgar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B6AAF25-7480-412B-95A7-44D6D894D74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151563" y="5216525"/>
            <a:ext cx="703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1944761-B446-42AA-A24D-7D7331678000}" type="datetime'''''''''Sl''''''''''''''''o''''v''''''''''e''''nia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loven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39C890-7CA9-4F16-B076-4F396F4558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12138" y="5216525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940355-687C-4B7D-A14E-7732037F4333}" type="datetime'E''''''''''s''''ton''''''''''''''i''a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ston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9E81EA1-EF0F-496D-B134-621B9F55847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38988" y="5216525"/>
            <a:ext cx="747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B59784-0B93-473D-97F9-143187CCAE67}" type="datetime'''''L''i''''''''''''t''''''''''''hu''''''an''''i''a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ithuan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47FD325-B7D4-443E-8A86-F33ABD62ABC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228138" y="5216525"/>
            <a:ext cx="603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678D69-7BD2-4762-AFDD-8AF421B02A42}" type="datetime'''''''''''''''C''ro''a''''''''''''''''''''''t''i''''''a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oatia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C4C6998-2AB9-4856-856A-0E66A5A9CF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179050" y="5216525"/>
            <a:ext cx="7191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4D32E0-F568-4F54-B67F-68C2DE17AAE3}" type="datetime'''''Cz''''''''''ec''''''''h'' Re''''p''''''u''b''''l''''i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zech Republi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60463" y="4965700"/>
            <a:ext cx="59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0F1088-E764-4D9E-A26F-7FECA5A907DC}" type="datetime'''''''''''-''1''''4''''''''''''''''''''5%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45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70113" y="4373563"/>
            <a:ext cx="59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E54F9F-A069-400A-BB0F-BAB78FE2153D}" type="datetime'''''''''''''-''''''1''''''''''12''''''''''''%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12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240213" y="3109913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3D98D0-910F-44BD-AB6C-5E4EFF518C3F}" type="datetime'''''''''-''''42%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42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248275" y="2959100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A9A178-A6F7-4519-8DF0-EE4BFA976862}" type="datetime'-''''''3''''''''''4''''''''''''%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34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256338" y="2921000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6FDEF0-F2AA-4253-8D3D-ED7B338CDB66}" type="datetime'''''''-''''''''''''''''''''''31''%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31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65988" y="2919413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01F5758-E781-4754-A2F7-72EF362998F4}" type="datetime'''''''-''3''''''''''''''''1''''''''''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31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74050" y="2913063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4FCA51-D5A1-4938-94D9-B21E41733AAD}" type="datetime'''''''''''-''''3''''''''''''''''''''1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31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283700" y="2849563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1B36F2-F39E-422C-BED2-15CA3CE8E70A}" type="datetime'''-''''''''''''''''''''''''2''''''''''''''''''''''''7%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7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291763" y="2844800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ADCA74-8A2B-48B6-849D-E3C62993DEFF}" type="datetime'''-''''''''27''''''''''''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7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5AC0F14A-9046-40D3-8B8F-1D3C9665C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IATA Economics using data from DD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BCC5FC5-E5DF-45CB-B687-954437B55A31}"/>
              </a:ext>
            </a:extLst>
          </p:cNvPr>
          <p:cNvSpPr txBox="1"/>
          <p:nvPr/>
        </p:nvSpPr>
        <p:spPr>
          <a:xfrm>
            <a:off x="381000" y="1349298"/>
            <a:ext cx="111716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Difference i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net airline booking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(sales minus refunds) made during the week of 24 Feb vs. the week prior, for travel at any future date to/from the wider Europe region, 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345558-FE6A-49CD-8890-C3692EB807F9}"/>
              </a:ext>
            </a:extLst>
          </p:cNvPr>
          <p:cNvSpPr txBox="1"/>
          <p:nvPr/>
        </p:nvSpPr>
        <p:spPr>
          <a:xfrm>
            <a:off x="838200" y="5700658"/>
            <a:ext cx="9947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* Difference in net bookings &lt; -100% can occur if there were more refunds than new bookings processed the week of 24 Feb so net bookings for that week were negative.  </a:t>
            </a:r>
          </a:p>
        </p:txBody>
      </p:sp>
    </p:spTree>
    <p:extLst>
      <p:ext uri="{BB962C8B-B14F-4D97-AF65-F5344CB8AC3E}">
        <p14:creationId xmlns:p14="http://schemas.microsoft.com/office/powerpoint/2010/main" val="136954025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9BF0E24-4C94-4A30-B754-D67DA91B28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9BF0E24-4C94-4A30-B754-D67DA91B2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728950-71AA-4557-917B-B00BB3236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38" y="383585"/>
            <a:ext cx="11429324" cy="1022726"/>
          </a:xfrm>
        </p:spPr>
        <p:txBody>
          <a:bodyPr vert="horz"/>
          <a:lstStyle/>
          <a:p>
            <a:r>
              <a:rPr lang="en-US" sz="3600" dirty="0"/>
              <a:t>But Ticket sales US to Europe highlight resilient confidence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65A9CE-E9E8-4BAB-B9CE-7B50F8A5B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CEB40-7C69-47E5-9106-E566935D3F53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F2BC3A-2038-4782-A214-F7DBFDA36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IATA/Tourism Economics Air Passenger Foreca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828C23-A53F-4CFB-A7F6-E88D33389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3925ED-8493-4745-82BC-C897A2E376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491" y="1459345"/>
            <a:ext cx="10880435" cy="501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83228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gnifying glass showing decling performance">
            <a:extLst>
              <a:ext uri="{FF2B5EF4-FFF2-40B4-BE49-F238E27FC236}">
                <a16:creationId xmlns:a16="http://schemas.microsoft.com/office/drawing/2014/main" id="{1FF36940-2484-458F-A382-A585C474D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34008"/>
            <a:ext cx="12192000" cy="81260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dirty="0"/>
              <a:t>BSPUK: </a:t>
            </a:r>
          </a:p>
          <a:p>
            <a:pPr algn="ctr"/>
            <a:r>
              <a:rPr lang="en-US" sz="9600" dirty="0"/>
              <a:t>Road to  recovery</a:t>
            </a:r>
          </a:p>
        </p:txBody>
      </p:sp>
    </p:spTree>
    <p:extLst>
      <p:ext uri="{BB962C8B-B14F-4D97-AF65-F5344CB8AC3E}">
        <p14:creationId xmlns:p14="http://schemas.microsoft.com/office/powerpoint/2010/main" val="213902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EE92D-BB5F-4904-BC55-556278B1A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1" y="216132"/>
            <a:ext cx="11665975" cy="781396"/>
          </a:xfrm>
        </p:spPr>
        <p:txBody>
          <a:bodyPr/>
          <a:lstStyle/>
          <a:p>
            <a:pPr algn="ctr"/>
            <a:r>
              <a:rPr lang="en-US" sz="4400" b="1" dirty="0">
                <a:solidFill>
                  <a:schemeClr val="accent1"/>
                </a:solidFill>
              </a:rPr>
              <a:t>BSPUK Operations – 2019 to date </a:t>
            </a:r>
            <a:r>
              <a:rPr lang="en-US" sz="3600" b="1" dirty="0">
                <a:solidFill>
                  <a:schemeClr val="accent1"/>
                </a:solidFill>
              </a:rPr>
              <a:t>– Sales settled  </a:t>
            </a:r>
            <a:endParaRPr lang="en-GB" sz="3600" dirty="0">
              <a:solidFill>
                <a:schemeClr val="accent1"/>
              </a:solidFill>
            </a:endParaRPr>
          </a:p>
          <a:p>
            <a:endParaRPr lang="en-GB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8424C69-1021-48DA-AB50-70C98F576AAC}"/>
              </a:ext>
            </a:extLst>
          </p:cNvPr>
          <p:cNvGraphicFramePr>
            <a:graphicFrameLocks/>
          </p:cNvGraphicFramePr>
          <p:nvPr/>
        </p:nvGraphicFramePr>
        <p:xfrm>
          <a:off x="370703" y="997528"/>
          <a:ext cx="11092547" cy="4884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286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EE92D-BB5F-4904-BC55-556278B1A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2" y="157943"/>
            <a:ext cx="12192001" cy="806333"/>
          </a:xfrm>
        </p:spPr>
        <p:txBody>
          <a:bodyPr/>
          <a:lstStyle/>
          <a:p>
            <a:pPr algn="ctr"/>
            <a:r>
              <a:rPr lang="en-US" sz="4400" b="1" dirty="0">
                <a:solidFill>
                  <a:schemeClr val="accent1"/>
                </a:solidFill>
              </a:rPr>
              <a:t>BSPUK Operations - 2019 to date- docs. settled </a:t>
            </a:r>
            <a:r>
              <a:rPr lang="en-US" sz="3600" b="1" dirty="0">
                <a:solidFill>
                  <a:schemeClr val="accent1"/>
                </a:solidFill>
              </a:rPr>
              <a:t>  </a:t>
            </a:r>
            <a:endParaRPr lang="en-GB" sz="3600" dirty="0">
              <a:solidFill>
                <a:schemeClr val="accent1"/>
              </a:solidFill>
            </a:endParaRPr>
          </a:p>
          <a:p>
            <a:endParaRPr lang="en-GB" dirty="0"/>
          </a:p>
        </p:txBody>
      </p:sp>
      <p:graphicFrame>
        <p:nvGraphicFramePr>
          <p:cNvPr id="6" name="Picture Placeholder 5">
            <a:extLst>
              <a:ext uri="{FF2B5EF4-FFF2-40B4-BE49-F238E27FC236}">
                <a16:creationId xmlns:a16="http://schemas.microsoft.com/office/drawing/2014/main" id="{DDC32322-62A8-4E3A-9B0E-69804BEE731F}"/>
              </a:ext>
            </a:extLst>
          </p:cNvPr>
          <p:cNvGraphicFramePr>
            <a:graphicFrameLocks noGrp="1"/>
          </p:cNvGraphicFramePr>
          <p:nvPr>
            <p:ph type="pic" sz="quarter" idx="13"/>
          </p:nvPr>
        </p:nvGraphicFramePr>
        <p:xfrm>
          <a:off x="-1588" y="847898"/>
          <a:ext cx="12193588" cy="6010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DC32322-62A8-4E3A-9B0E-69804BEE731F}"/>
              </a:ext>
            </a:extLst>
          </p:cNvPr>
          <p:cNvGraphicFramePr>
            <a:graphicFrameLocks/>
          </p:cNvGraphicFramePr>
          <p:nvPr/>
        </p:nvGraphicFramePr>
        <p:xfrm>
          <a:off x="728750" y="964276"/>
          <a:ext cx="11098875" cy="48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706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9C150-17DA-4DFE-AB94-67CF488EB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latin typeface="+mj-lt"/>
                <a:ea typeface="+mn-ea"/>
                <a:cs typeface="+mn-cs"/>
              </a:rPr>
              <a:t>BSPUK- Topical issues</a:t>
            </a:r>
            <a:endParaRPr lang="en-US" b="1" dirty="0">
              <a:latin typeface="+mj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914242-F535-4FFC-9A62-F025B50FAAF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b="1" dirty="0"/>
              <a:t>Remittance Holding Capacity (RHC) </a:t>
            </a:r>
          </a:p>
          <a:p>
            <a:pPr marL="457200" lvl="4" indent="-457200">
              <a:buFont typeface="Wingdings" panose="05000000000000000000" pitchFamily="2" charset="2"/>
              <a:buChar char="ü"/>
            </a:pPr>
            <a:r>
              <a:rPr lang="en-US" dirty="0"/>
              <a:t>Monitoring and calculation-current proces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b="1" dirty="0"/>
              <a:t>UK Local Financial Criteria for Annual reviews</a:t>
            </a:r>
          </a:p>
          <a:p>
            <a:pPr marL="457200" lvl="4" indent="-457200">
              <a:buFont typeface="Wingdings" panose="05000000000000000000" pitchFamily="2" charset="2"/>
              <a:buChar char="ü"/>
            </a:pPr>
            <a:r>
              <a:rPr lang="en-US" dirty="0"/>
              <a:t>Review process and change – update </a:t>
            </a:r>
          </a:p>
        </p:txBody>
      </p:sp>
    </p:spTree>
    <p:extLst>
      <p:ext uri="{BB962C8B-B14F-4D97-AF65-F5344CB8AC3E}">
        <p14:creationId xmlns:p14="http://schemas.microsoft.com/office/powerpoint/2010/main" val="385148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CB3C6D7C-CA49-4F7E-B189-638416AD1DA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70C007-650B-4804-9DB7-DE32288F3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937FE-5C9B-40C9-8C55-48EB04CA346C}" type="datetime3">
              <a:rPr lang="en-US">
                <a:solidFill>
                  <a:schemeClr val="bg1"/>
                </a:solidFill>
              </a:rPr>
              <a:pPr/>
              <a:t>18 May 2022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877AA5C1-2BF5-45CD-9715-DEAE271EC8C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456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B98D57-551A-442C-8928-E700E04CE8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B98D57-551A-442C-8928-E700E04CE8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147673-535C-4018-B4DF-D9602C969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907084"/>
          </a:xfrm>
        </p:spPr>
        <p:txBody>
          <a:bodyPr vert="horz"/>
          <a:lstStyle/>
          <a:p>
            <a:r>
              <a:rPr lang="en-US" sz="4800" dirty="0"/>
              <a:t>Global IATA forecast</a:t>
            </a:r>
            <a:br>
              <a:rPr lang="en-US" sz="3600" dirty="0"/>
            </a:br>
            <a:r>
              <a:rPr lang="en-US" sz="2800" dirty="0"/>
              <a:t>Positive pandemic evolution, but setbacks still a risk + weak Asia</a:t>
            </a:r>
            <a:endParaRPr lang="en-US" sz="36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E24566-FA6A-46CA-8541-C75D4E5F6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CEB40-7C69-47E5-9106-E566935D3F53}" type="datetime3">
              <a:rPr lang="en-US" smtClean="0"/>
              <a:pPr/>
              <a:t>18 Ma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6F5E13-2E19-40DE-82F9-594F2A51B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612674" y="6570000"/>
            <a:ext cx="5552974" cy="288000"/>
          </a:xfrm>
        </p:spPr>
        <p:txBody>
          <a:bodyPr/>
          <a:lstStyle/>
          <a:p>
            <a:r>
              <a:rPr lang="en-US" dirty="0"/>
              <a:t>Source: IATA/Tourism Economics Air Passenger Foreca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018FDE-F167-4832-BAE3-6CB294FF9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1E9F20E-48FE-4C6D-8995-2972EBA311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796434"/>
              </p:ext>
            </p:extLst>
          </p:nvPr>
        </p:nvGraphicFramePr>
        <p:xfrm>
          <a:off x="282497" y="1567134"/>
          <a:ext cx="11429324" cy="4899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6559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A03E60-2EDE-4D3B-89C7-6D19A5DDB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t the sector still faces a turbulent tim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7702AC-0C05-4772-B0D1-00C85C84BB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8176" y="2962173"/>
            <a:ext cx="5523824" cy="4267200"/>
          </a:xfrm>
        </p:spPr>
        <p:txBody>
          <a:bodyPr/>
          <a:lstStyle/>
          <a:p>
            <a:r>
              <a:rPr lang="en-GB" sz="4400" dirty="0"/>
              <a:t>Three threats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Debt burd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Fuel pri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Sustainability</a:t>
            </a:r>
            <a:endParaRPr lang="en-US" sz="4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05E50D-0611-4310-9E91-74121AEDA0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2352" y="2962173"/>
            <a:ext cx="5904824" cy="4267200"/>
          </a:xfrm>
        </p:spPr>
        <p:txBody>
          <a:bodyPr/>
          <a:lstStyle/>
          <a:p>
            <a:r>
              <a:rPr lang="en-GB" sz="4400" dirty="0"/>
              <a:t>Three opportunities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Easing of restri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Pent up dema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 dirty="0"/>
              <a:t>Cargo has flourished  </a:t>
            </a:r>
            <a:endParaRPr lang="en-US" sz="4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6D3E42-A3A7-4227-A317-E92B065ED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4265" y="974523"/>
            <a:ext cx="8141118" cy="194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65310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gnifying glass showing decling performance">
            <a:extLst>
              <a:ext uri="{FF2B5EF4-FFF2-40B4-BE49-F238E27FC236}">
                <a16:creationId xmlns:a16="http://schemas.microsoft.com/office/drawing/2014/main" id="{1FF36940-2484-458F-A382-A585C474D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34008"/>
            <a:ext cx="12192000" cy="81260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Debt Burden 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197676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ACB19F9-3021-3048-8319-76540B9B5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1002300"/>
          </a:xfrm>
        </p:spPr>
        <p:txBody>
          <a:bodyPr/>
          <a:lstStyle/>
          <a:p>
            <a:r>
              <a:rPr lang="en-US" altLang="en-US" sz="3600" dirty="0"/>
              <a:t>Airlines are capital intensive - loans and debts that kept the sector alive now need to be repaid</a:t>
            </a:r>
            <a:endParaRPr lang="en-GB" sz="3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3F9A5B-93B7-5E41-830D-64943DD13A04}"/>
              </a:ext>
            </a:extLst>
          </p:cNvPr>
          <p:cNvSpPr>
            <a:spLocks/>
          </p:cNvSpPr>
          <p:nvPr/>
        </p:nvSpPr>
        <p:spPr>
          <a:xfrm>
            <a:off x="-3456000" y="0"/>
            <a:ext cx="3312000" cy="34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r>
              <a:rPr lang="en-GB" sz="1400" dirty="0">
                <a:solidFill>
                  <a:schemeClr val="tx1"/>
                </a:solidFill>
                <a:latin typeface="+mj-lt"/>
              </a:rPr>
              <a:t>TEXT FORMATTING / LIST LEVELS</a:t>
            </a:r>
            <a:endParaRPr lang="en-GB" sz="1400" b="0" i="0" dirty="0">
              <a:solidFill>
                <a:schemeClr val="tx1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GB" sz="1400" b="0" i="0" dirty="0">
                <a:solidFill>
                  <a:schemeClr val="tx1"/>
                </a:solidFill>
              </a:rPr>
              <a:t>To change the text formatting or list level: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Highlight the paragraph or sentence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From the 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Home</a:t>
            </a:r>
            <a:r>
              <a:rPr lang="en-GB" sz="1400" dirty="0">
                <a:solidFill>
                  <a:schemeClr val="tx1"/>
                </a:solidFill>
              </a:rPr>
              <a:t> tab, select the 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’Increase List Level’</a:t>
            </a:r>
            <a:r>
              <a:rPr lang="en-GB" sz="1400" dirty="0">
                <a:solidFill>
                  <a:schemeClr val="tx1"/>
                </a:solidFill>
              </a:rPr>
              <a:t> button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Click the button once to remove the blue subtitle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Click again to add the first level bullet point etc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o go back a level, use the </a:t>
            </a:r>
            <a:r>
              <a:rPr lang="en-GB" sz="1400" dirty="0">
                <a:solidFill>
                  <a:schemeClr val="tx1"/>
                </a:solidFill>
                <a:latin typeface="+mj-lt"/>
              </a:rPr>
              <a:t>‘Decrease List Level’</a:t>
            </a:r>
            <a:r>
              <a:rPr lang="en-GB" sz="1400" dirty="0">
                <a:solidFill>
                  <a:schemeClr val="tx1"/>
                </a:solidFill>
              </a:rPr>
              <a:t> butt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E08D75-EAA2-421F-9005-FF1556B05E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6324" y="1051200"/>
            <a:ext cx="11311568" cy="2506836"/>
          </a:xfrm>
        </p:spPr>
        <p:txBody>
          <a:bodyPr/>
          <a:lstStyle/>
          <a:p>
            <a:pPr marL="601200" lvl="1" indent="-457200">
              <a:buFont typeface="+mj-lt"/>
              <a:buAutoNum type="arabicPeriod"/>
            </a:pPr>
            <a:endParaRPr lang="en-US" dirty="0"/>
          </a:p>
          <a:p>
            <a:pPr marL="601200" lvl="1" indent="-457200">
              <a:buFont typeface="+mj-lt"/>
              <a:buAutoNum type="arabicPeriod"/>
            </a:pPr>
            <a:endParaRPr lang="en-US" dirty="0"/>
          </a:p>
          <a:p>
            <a:pPr marL="630900" lvl="2" indent="-342900">
              <a:buFont typeface="Courier New" panose="02070309020205020404" pitchFamily="49" charset="0"/>
              <a:buChar char="o"/>
            </a:pPr>
            <a:endParaRPr lang="en-US" dirty="0"/>
          </a:p>
          <a:p>
            <a:pPr marL="486900" lvl="1" indent="-342900">
              <a:buFont typeface="Courier New" panose="02070309020205020404" pitchFamily="49" charset="0"/>
              <a:buChar char="o"/>
            </a:pPr>
            <a:endParaRPr lang="en-GB" dirty="0"/>
          </a:p>
          <a:p>
            <a:pPr marL="486900" lvl="1" indent="-342900">
              <a:buFont typeface="Courier New" panose="02070309020205020404" pitchFamily="49" charset="0"/>
              <a:buChar char="o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2B91874-7689-4155-8DE6-9E23C40DDB0C}"/>
              </a:ext>
            </a:extLst>
          </p:cNvPr>
          <p:cNvSpPr txBox="1">
            <a:spLocks/>
          </p:cNvSpPr>
          <p:nvPr/>
        </p:nvSpPr>
        <p:spPr>
          <a:xfrm>
            <a:off x="502895" y="3779475"/>
            <a:ext cx="11124997" cy="50122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Tx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E8D2E9D-0B3F-4454-AE81-D10E390C2CE7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17" y="1333501"/>
            <a:ext cx="12088216" cy="552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30654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29C7F21-1616-4774-9880-E37237832D2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/>
          <a:srcRect/>
          <a:stretch/>
        </p:blipFill>
        <p:spPr>
          <a:xfrm>
            <a:off x="8003" y="-633984"/>
            <a:ext cx="12183997" cy="812063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E2D1FE-7E16-4754-B08B-8BCB49C9982B}"/>
              </a:ext>
            </a:extLst>
          </p:cNvPr>
          <p:cNvSpPr/>
          <p:nvPr/>
        </p:nvSpPr>
        <p:spPr>
          <a:xfrm>
            <a:off x="2581275" y="1295400"/>
            <a:ext cx="7029450" cy="426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600" dirty="0"/>
              <a:t>Fuel price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32590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FFF9A-B81C-4D41-8B8D-4F48A6223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Jet fuel price soaring amid supply concerns</a:t>
            </a:r>
            <a:br>
              <a:rPr lang="en-US" sz="4000" dirty="0"/>
            </a:br>
            <a:r>
              <a:rPr lang="en-US" sz="2800" dirty="0"/>
              <a:t>Jet fuel price up 45% year-to-date, putting pressure on airlines’ costs</a:t>
            </a:r>
            <a:br>
              <a:rPr lang="en-US" sz="4000" dirty="0"/>
            </a:br>
            <a:endParaRPr lang="en-US" sz="4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036228-8FA0-4806-B6A5-E1B14AEAB1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01138" y="6162324"/>
            <a:ext cx="1814512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8FDAFA-8F58-4F9F-8532-9365EB2351CF}" type="datetime3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y 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3804AB-8A16-41A1-8D52-FFC65601C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69" y="6162324"/>
            <a:ext cx="795288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Source: Refinitiv Eiko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Datastre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, Plat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5FBE5F-24AF-4B76-BC71-65FEA42C1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00000000-0008-0000-0400-00000F00000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1000" y="1485900"/>
          <a:ext cx="114300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194661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243374957544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nu4Egj6qtRrhbtNv1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mM6bZST9__zFJN6DGU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qwCnoPTSVlQqW7gvo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7EMc8.37BG7w2g5SX9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U5J3Dukbj92ncvvATM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SVRKaTHl7oDCIvRap8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HkQDRxRruwL_NLGgdN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EpYBKjCIU61h8n64Ad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kx3_2OHG5L2.orWTqw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Fz4E_TcORWCj8lzm5k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7PGo.kBEZIESEHr9Mc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h9cCJ9p20YEf1zQo43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hpCHbnzw1XDIqYT.d2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fet77RDlWA9U8xwabD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AZ6.aS9TCh033BxOt0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ZtQr4mOKYDRYCpWjJe1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wWZDXm6UhrBDa56ay3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.azvsmlzi.s7VFhOn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Fynj2Hxaiemj6F3Hzc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cnamaras\AppData\Local\Temp\Templafy\PowerPointVsto\Assets\1b7fb0bf-0410-4b00-a0ef-f3ef80c2ecb7.jp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JiEq0k_06hu4NcaqHd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H3DkyuX2CzrAfSQ8IV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cnamaras\AppData\Local\Temp\Templafy\PowerPointVsto\Assets\412f0b8b-c175-429c-a569-8eff2ec2b248.j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4481203444116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cnamaras\AppData\Local\Temp\Templafy\PowerPointVsto\Assets\4ba137cb-cad4-4ac3-b62f-f0c4a2f9ceca.j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cnamaras\AppData\Local\Temp\Templafy\PowerPointVsto\Assets\e7586d82-2b55-4d96-b6c0-57ec544d6036.jp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cnamaras\AppData\Local\Temp\Templafy\PowerPointVsto\Assets\c17d5c0e-b7a8-4c24-9bb2-5f733060547f.jpeg"/>
</p:tagLst>
</file>

<file path=ppt/theme/theme1.xml><?xml version="1.0" encoding="utf-8"?>
<a:theme xmlns:a="http://schemas.openxmlformats.org/drawingml/2006/main" name="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4E4A49CC-C144-43C0-A5DB-5527A577A2A1}"/>
    </a:ext>
  </a:extLst>
</a:theme>
</file>

<file path=ppt/theme/theme10.xml><?xml version="1.0" encoding="utf-8"?>
<a:theme xmlns:a="http://schemas.openxmlformats.org/drawingml/2006/main" name="3_Internal Blu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E73269A8-24DE-48B3-9F86-13EA475C0BB8}"/>
    </a:ext>
  </a:extLst>
</a:theme>
</file>

<file path=ppt/theme/theme11.xml><?xml version="1.0" encoding="utf-8"?>
<a:theme xmlns:a="http://schemas.openxmlformats.org/drawingml/2006/main" name="2_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35B3A8CE-2CC4-4541-8075-A8E7BC877FE7}"/>
    </a:ext>
  </a:extLst>
</a:theme>
</file>

<file path=ppt/theme/theme12.xml><?xml version="1.0" encoding="utf-8"?>
<a:theme xmlns:a="http://schemas.openxmlformats.org/drawingml/2006/main" name="4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F37FCBE0-4D7C-4337-B031-A679313453AF}"/>
    </a:ext>
  </a:extLst>
</a:theme>
</file>

<file path=ppt/theme/theme13.xml><?xml version="1.0" encoding="utf-8"?>
<a:theme xmlns:a="http://schemas.openxmlformats.org/drawingml/2006/main" name="01_Internal_Template_12nov_AMEND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_Internal_Template_23nov.potx" id="{3DE6D1FE-7352-4DD9-857F-F244C2A0D33B}" vid="{1F583206-4DE9-4D45-BB0E-A35D30037A92}"/>
    </a:ext>
  </a:extLst>
</a:theme>
</file>

<file path=ppt/theme/theme14.xml><?xml version="1.0" encoding="utf-8"?>
<a:theme xmlns:a="http://schemas.openxmlformats.org/drawingml/2006/main" name="5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_Internal_Template_23nov.potx" id="{3DE6D1FE-7352-4DD9-857F-F244C2A0D33B}" vid="{67BB57BA-E879-4CB2-9753-3FE8B27DA576}"/>
    </a:ext>
  </a:extLst>
</a:theme>
</file>

<file path=ppt/theme/theme15.xml><?xml version="1.0" encoding="utf-8"?>
<a:theme xmlns:a="http://schemas.openxmlformats.org/drawingml/2006/main" name="3_Basic_Template_NEW_v4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2_Basic_Template_22nov.potx" id="{9E4D1EF2-0C3D-4ECB-88B3-2D8882A989EB}" vid="{6D07D427-6DA8-4D75-A761-F1AE6767C242}"/>
    </a:ext>
  </a:extLst>
</a:theme>
</file>

<file path=ppt/theme/theme16.xml><?xml version="1.0" encoding="utf-8"?>
<a:theme xmlns:a="http://schemas.openxmlformats.org/drawingml/2006/main" name="4_Basic_Template_NEW_v4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ic_Template.potx" id="{E23B7A74-865A-48CA-B16C-3F7694FDF1A9}" vid="{E04E649E-3158-4CA6-8102-A61C01F8009F}"/>
    </a:ext>
  </a:extLst>
</a:theme>
</file>

<file path=ppt/theme/theme17.xml><?xml version="1.0" encoding="utf-8"?>
<a:theme xmlns:a="http://schemas.openxmlformats.org/drawingml/2006/main" name="3_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4E4A49CC-C144-43C0-A5DB-5527A577A2A1}"/>
    </a:ext>
  </a:extLst>
</a:theme>
</file>

<file path=ppt/theme/theme18.xml><?xml version="1.0" encoding="utf-8"?>
<a:theme xmlns:a="http://schemas.openxmlformats.org/drawingml/2006/main" name="4_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2nov_v2.potx" id="{8D6B3527-708E-4BE6-8BC7-DA2A96392DD9}" vid="{BFC57005-83FC-4A91-8A39-0C3E281F4A8E}"/>
    </a:ext>
  </a:extLst>
</a:theme>
</file>

<file path=ppt/theme/theme19.xml><?xml version="1.0" encoding="utf-8"?>
<a:theme xmlns:a="http://schemas.openxmlformats.org/drawingml/2006/main" name="5_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4E4A49CC-C144-43C0-A5DB-5527A577A2A1}"/>
    </a:ext>
  </a:extLst>
</a:theme>
</file>

<file path=ppt/theme/theme2.xml><?xml version="1.0" encoding="utf-8"?>
<a:theme xmlns:a="http://schemas.openxmlformats.org/drawingml/2006/main" name="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FDF53F3C-DF26-4894-BBC5-FB560F3EA931}"/>
    </a:ext>
  </a:extLst>
</a:theme>
</file>

<file path=ppt/theme/theme20.xml><?xml version="1.0" encoding="utf-8"?>
<a:theme xmlns:a="http://schemas.openxmlformats.org/drawingml/2006/main" name="5_Basic_Template_NEW_v4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2_Basic_Template_22nov.potx" id="{9E4D1EF2-0C3D-4ECB-88B3-2D8882A989EB}" vid="{6D07D427-6DA8-4D75-A761-F1AE6767C242}"/>
    </a:ext>
  </a:extLst>
</a:theme>
</file>

<file path=ppt/theme/theme21.xml><?xml version="1.0" encoding="utf-8"?>
<a:theme xmlns:a="http://schemas.openxmlformats.org/drawingml/2006/main" name="IATA_Master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default.pptx  -  Read-Only" id="{3393D6F6-3DDF-4AD8-AF70-01B8C861C0E9}" vid="{9069597E-579C-472E-93EE-52701DC46031}"/>
    </a:ext>
  </a:extLst>
</a:theme>
</file>

<file path=ppt/theme/theme22.xml><?xml version="1.0" encoding="utf-8"?>
<a:theme xmlns:a="http://schemas.openxmlformats.org/drawingml/2006/main" name="6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F37FCBE0-4D7C-4337-B031-A679313453AF}"/>
    </a:ext>
  </a:extLst>
</a:theme>
</file>

<file path=ppt/theme/theme23.xml><?xml version="1.0" encoding="utf-8"?>
<a:theme xmlns:a="http://schemas.openxmlformats.org/drawingml/2006/main" name="Office Them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Internal Blu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E73269A8-24DE-48B3-9F86-13EA475C0BB8}"/>
    </a:ext>
  </a:extLst>
</a:theme>
</file>

<file path=ppt/theme/theme4.xml><?xml version="1.0" encoding="utf-8"?>
<a:theme xmlns:a="http://schemas.openxmlformats.org/drawingml/2006/main" name="Internal Blu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BC61E2A4-CCD6-436C-8C36-E2DAF65ADA78}"/>
    </a:ext>
  </a:extLst>
</a:theme>
</file>

<file path=ppt/theme/theme5.xml><?xml version="1.0" encoding="utf-8"?>
<a:theme xmlns:a="http://schemas.openxmlformats.org/drawingml/2006/main" name="1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Keynote_Template_23nov.potx" id="{E7297160-FCCA-40FB-9FA7-CA6EE44E5011}" vid="{FCD547B6-DCB5-4F19-B091-3D550CF5DA91}"/>
    </a:ext>
  </a:extLst>
</a:theme>
</file>

<file path=ppt/theme/theme6.xml><?xml version="1.0" encoding="utf-8"?>
<a:theme xmlns:a="http://schemas.openxmlformats.org/drawingml/2006/main" name="02_Basic_Template_NEW_v4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2_Basic_Template_22nov.potx" id="{9E4D1EF2-0C3D-4ECB-88B3-2D8882A989EB}" vid="{6D07D427-6DA8-4D75-A761-F1AE6767C242}"/>
    </a:ext>
  </a:extLst>
</a:theme>
</file>

<file path=ppt/theme/theme7.xml><?xml version="1.0" encoding="utf-8"?>
<a:theme xmlns:a="http://schemas.openxmlformats.org/drawingml/2006/main" name="2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F37FCBE0-4D7C-4337-B031-A679313453AF}"/>
    </a:ext>
  </a:extLst>
</a:theme>
</file>

<file path=ppt/theme/theme8.xml><?xml version="1.0" encoding="utf-8"?>
<a:theme xmlns:a="http://schemas.openxmlformats.org/drawingml/2006/main" name="1_Internal White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35B3A8CE-2CC4-4541-8075-A8E7BC877FE7}"/>
    </a:ext>
  </a:extLst>
</a:theme>
</file>

<file path=ppt/theme/theme9.xml><?xml version="1.0" encoding="utf-8"?>
<a:theme xmlns:a="http://schemas.openxmlformats.org/drawingml/2006/main" name="3_Covers + Divider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Aktiv Grotesk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_Sales_Pitch_Template_23nov.potx" id="{4F77E6DD-9ED5-4B4A-9023-E61AFD372698}" vid="{F37FCBE0-4D7C-4337-B031-A679313453AF}"/>
    </a:ext>
  </a:extLst>
</a:theme>
</file>

<file path=ppt/theme/themeOverride1.xml><?xml version="1.0" encoding="utf-8"?>
<a:themeOverride xmlns:a="http://schemas.openxmlformats.org/drawingml/2006/main">
  <a:clrScheme name="Custom 15">
    <a:dk1>
      <a:srgbClr val="000000"/>
    </a:dk1>
    <a:lt1>
      <a:srgbClr val="FFFFFF"/>
    </a:lt1>
    <a:dk2>
      <a:srgbClr val="000000"/>
    </a:dk2>
    <a:lt2>
      <a:srgbClr val="FFFFFF"/>
    </a:lt2>
    <a:accent1>
      <a:srgbClr val="1E32FA"/>
    </a:accent1>
    <a:accent2>
      <a:srgbClr val="F04632"/>
    </a:accent2>
    <a:accent3>
      <a:srgbClr val="FAC832"/>
    </a:accent3>
    <a:accent4>
      <a:srgbClr val="000000"/>
    </a:accent4>
    <a:accent5>
      <a:srgbClr val="289632"/>
    </a:accent5>
    <a:accent6>
      <a:srgbClr val="F046C8"/>
    </a:accent6>
    <a:hlink>
      <a:srgbClr val="1E32FA"/>
    </a:hlink>
    <a:folHlink>
      <a:srgbClr val="FAC832"/>
    </a:folHlink>
  </a:clrScheme>
  <a:fontScheme name="ECON">
    <a:majorFont>
      <a:latin typeface="Aktiv Grotesk Medium"/>
      <a:ea typeface=""/>
      <a:cs typeface=""/>
    </a:majorFont>
    <a:minorFont>
      <a:latin typeface="Aktiv Grotes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5">
    <a:dk1>
      <a:srgbClr val="000000"/>
    </a:dk1>
    <a:lt1>
      <a:srgbClr val="FFFFFF"/>
    </a:lt1>
    <a:dk2>
      <a:srgbClr val="000000"/>
    </a:dk2>
    <a:lt2>
      <a:srgbClr val="FFFFFF"/>
    </a:lt2>
    <a:accent1>
      <a:srgbClr val="1E32FA"/>
    </a:accent1>
    <a:accent2>
      <a:srgbClr val="FAC832"/>
    </a:accent2>
    <a:accent3>
      <a:srgbClr val="F04632"/>
    </a:accent3>
    <a:accent4>
      <a:srgbClr val="000000"/>
    </a:accent4>
    <a:accent5>
      <a:srgbClr val="289632"/>
    </a:accent5>
    <a:accent6>
      <a:srgbClr val="F046C8"/>
    </a:accent6>
    <a:hlink>
      <a:srgbClr val="1E32FA"/>
    </a:hlink>
    <a:folHlink>
      <a:srgbClr val="FAC832"/>
    </a:folHlink>
  </a:clrScheme>
  <a:fontScheme name="ECON">
    <a:majorFont>
      <a:latin typeface="Aktiv Grotesk Medium"/>
      <a:ea typeface=""/>
      <a:cs typeface=""/>
    </a:majorFont>
    <a:minorFont>
      <a:latin typeface="Aktiv Grotes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5">
    <a:dk1>
      <a:srgbClr val="000000"/>
    </a:dk1>
    <a:lt1>
      <a:srgbClr val="FFFFFF"/>
    </a:lt1>
    <a:dk2>
      <a:srgbClr val="000000"/>
    </a:dk2>
    <a:lt2>
      <a:srgbClr val="FFFFFF"/>
    </a:lt2>
    <a:accent1>
      <a:srgbClr val="1E32FA"/>
    </a:accent1>
    <a:accent2>
      <a:srgbClr val="F04632"/>
    </a:accent2>
    <a:accent3>
      <a:srgbClr val="FAC832"/>
    </a:accent3>
    <a:accent4>
      <a:srgbClr val="000000"/>
    </a:accent4>
    <a:accent5>
      <a:srgbClr val="289632"/>
    </a:accent5>
    <a:accent6>
      <a:srgbClr val="F046C8"/>
    </a:accent6>
    <a:hlink>
      <a:srgbClr val="1E32FA"/>
    </a:hlink>
    <a:folHlink>
      <a:srgbClr val="FAC832"/>
    </a:folHlink>
  </a:clrScheme>
  <a:fontScheme name="ECON">
    <a:majorFont>
      <a:latin typeface="Aktiv Grotesk Medium"/>
      <a:ea typeface=""/>
      <a:cs typeface=""/>
    </a:majorFont>
    <a:minorFont>
      <a:latin typeface="Aktiv Grotes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5">
    <a:dk1>
      <a:srgbClr val="000000"/>
    </a:dk1>
    <a:lt1>
      <a:srgbClr val="FFFFFF"/>
    </a:lt1>
    <a:dk2>
      <a:srgbClr val="000000"/>
    </a:dk2>
    <a:lt2>
      <a:srgbClr val="FFFFFF"/>
    </a:lt2>
    <a:accent1>
      <a:srgbClr val="1E32FA"/>
    </a:accent1>
    <a:accent2>
      <a:srgbClr val="F04632"/>
    </a:accent2>
    <a:accent3>
      <a:srgbClr val="FAC832"/>
    </a:accent3>
    <a:accent4>
      <a:srgbClr val="000000"/>
    </a:accent4>
    <a:accent5>
      <a:srgbClr val="289632"/>
    </a:accent5>
    <a:accent6>
      <a:srgbClr val="F046C8"/>
    </a:accent6>
    <a:hlink>
      <a:srgbClr val="1E32FA"/>
    </a:hlink>
    <a:folHlink>
      <a:srgbClr val="FAC832"/>
    </a:folHlink>
  </a:clrScheme>
  <a:fontScheme name="ECON">
    <a:majorFont>
      <a:latin typeface="Aktiv Grotesk Medium"/>
      <a:ea typeface=""/>
      <a:cs typeface=""/>
    </a:majorFont>
    <a:minorFont>
      <a:latin typeface="Aktiv Grotes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8D3591FF52B4D8EF8323DAD109387" ma:contentTypeVersion="13" ma:contentTypeDescription="Create a new document." ma:contentTypeScope="" ma:versionID="aed085554446e6701d130708a8dfedfd">
  <xsd:schema xmlns:xsd="http://www.w3.org/2001/XMLSchema" xmlns:xs="http://www.w3.org/2001/XMLSchema" xmlns:p="http://schemas.microsoft.com/office/2006/metadata/properties" xmlns:ns3="1e94ca06-3364-4a9d-89c1-ed23dfec5abd" xmlns:ns4="26c519b1-01ab-4b26-8d44-cde42aa5da46" targetNamespace="http://schemas.microsoft.com/office/2006/metadata/properties" ma:root="true" ma:fieldsID="da6574eda6fbfdaf881d54bddce2f770" ns3:_="" ns4:_="">
    <xsd:import namespace="1e94ca06-3364-4a9d-89c1-ed23dfec5abd"/>
    <xsd:import namespace="26c519b1-01ab-4b26-8d44-cde42aa5da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94ca06-3364-4a9d-89c1-ed23dfec5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c519b1-01ab-4b26-8d44-cde42aa5da4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CC65B2-8549-471E-9162-4DDDED05F4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DC4DCB-51D8-444D-8246-5329CA6F10D0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schemas.openxmlformats.org/package/2006/metadata/core-properties"/>
    <ds:schemaRef ds:uri="26c519b1-01ab-4b26-8d44-cde42aa5da46"/>
    <ds:schemaRef ds:uri="1e94ca06-3364-4a9d-89c1-ed23dfec5abd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C680DC8-7B67-436C-95E5-C8B28CCB30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94ca06-3364-4a9d-89c1-ed23dfec5abd"/>
    <ds:schemaRef ds:uri="26c519b1-01ab-4b26-8d44-cde42aa5da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note_Template</Template>
  <TotalTime>25750</TotalTime>
  <Words>809</Words>
  <Application>Microsoft Office PowerPoint</Application>
  <PresentationFormat>Widescreen</PresentationFormat>
  <Paragraphs>152</Paragraphs>
  <Slides>2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55" baseType="lpstr">
      <vt:lpstr>Aktiv Grotesk Light</vt:lpstr>
      <vt:lpstr>Aktiv Grotesk Thin</vt:lpstr>
      <vt:lpstr>Aktiv Grotesk</vt:lpstr>
      <vt:lpstr>Aktiv Grotesk Medium</vt:lpstr>
      <vt:lpstr>Courier New</vt:lpstr>
      <vt:lpstr>Wingdings</vt:lpstr>
      <vt:lpstr>Arial</vt:lpstr>
      <vt:lpstr>Internal White</vt:lpstr>
      <vt:lpstr>Covers + Dividers</vt:lpstr>
      <vt:lpstr>1_Internal Blue</vt:lpstr>
      <vt:lpstr>Internal Blue</vt:lpstr>
      <vt:lpstr>1_Covers + Dividers</vt:lpstr>
      <vt:lpstr>02_Basic_Template_NEW_v4</vt:lpstr>
      <vt:lpstr>2_Covers + Dividers</vt:lpstr>
      <vt:lpstr>1_Internal White</vt:lpstr>
      <vt:lpstr>3_Covers + Dividers</vt:lpstr>
      <vt:lpstr>3_Internal Blue</vt:lpstr>
      <vt:lpstr>2_Internal White</vt:lpstr>
      <vt:lpstr>4_Covers + Dividers</vt:lpstr>
      <vt:lpstr>01_Internal_Template_12nov_AMEND</vt:lpstr>
      <vt:lpstr>5_Covers + Dividers</vt:lpstr>
      <vt:lpstr>3_Basic_Template_NEW_v4</vt:lpstr>
      <vt:lpstr>4_Basic_Template_NEW_v4</vt:lpstr>
      <vt:lpstr>3_Internal White</vt:lpstr>
      <vt:lpstr>4_Internal White</vt:lpstr>
      <vt:lpstr>5_Internal White</vt:lpstr>
      <vt:lpstr>5_Basic_Template_NEW_v4</vt:lpstr>
      <vt:lpstr>IATA_Master</vt:lpstr>
      <vt:lpstr>6_Covers + Dividers</vt:lpstr>
      <vt:lpstr>think-cell Slide</vt:lpstr>
      <vt:lpstr>PowerPoint Presentation</vt:lpstr>
      <vt:lpstr>A global shock that no one expected </vt:lpstr>
      <vt:lpstr>PowerPoint Presentation</vt:lpstr>
      <vt:lpstr>Global IATA forecast Positive pandemic evolution, but setbacks still a risk + weak Asia</vt:lpstr>
      <vt:lpstr>But the sector still faces a turbulent time</vt:lpstr>
      <vt:lpstr>PowerPoint Presentation</vt:lpstr>
      <vt:lpstr>Airlines are capital intensive - loans and debts that kept the sector alive now need to be repaid</vt:lpstr>
      <vt:lpstr>PowerPoint Presentation</vt:lpstr>
      <vt:lpstr>Jet fuel price soaring amid supply concerns Jet fuel price up 45% year-to-date, putting pressure on airlines’ costs </vt:lpstr>
      <vt:lpstr>PowerPoint Presentation</vt:lpstr>
      <vt:lpstr>Achieving net zero globally by 2050 needs collective effort </vt:lpstr>
      <vt:lpstr>PowerPoint Presentation</vt:lpstr>
      <vt:lpstr>International recovery particularly slow in Asia China may not reopen before H2 22. Rest of region reopens gradually</vt:lpstr>
      <vt:lpstr>PowerPoint Presentation</vt:lpstr>
      <vt:lpstr>Travel demand is still fragile in some markets Recovery led by price-sensitive leisure travelers     </vt:lpstr>
      <vt:lpstr>PowerPoint Presentation</vt:lpstr>
      <vt:lpstr>PowerPoint Presentation</vt:lpstr>
      <vt:lpstr>Air cargo has remained resilient throughout the  pandemic</vt:lpstr>
      <vt:lpstr>But the World facing a new challenge: Attention turns to Eastern Europe as COVID concerns fade</vt:lpstr>
      <vt:lpstr>10 most affected countries are in Eastern Europe: Ukraine and Moldova show the largest fall in bookings </vt:lpstr>
      <vt:lpstr>But Ticket sales US to Europe highlight resilient confidence </vt:lpstr>
      <vt:lpstr>PowerPoint Presentation</vt:lpstr>
      <vt:lpstr>PowerPoint Presentation</vt:lpstr>
      <vt:lpstr>PowerPoint Presentation</vt:lpstr>
      <vt:lpstr>BSPUK- Topical issu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cover page title</dc:title>
  <dc:creator>WAN Amber</dc:creator>
  <cp:lastModifiedBy>Dave Clare</cp:lastModifiedBy>
  <cp:revision>434</cp:revision>
  <cp:lastPrinted>2022-05-10T15:48:16Z</cp:lastPrinted>
  <dcterms:created xsi:type="dcterms:W3CDTF">2019-01-25T13:27:31Z</dcterms:created>
  <dcterms:modified xsi:type="dcterms:W3CDTF">2022-05-18T06:1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8D3591FF52B4D8EF8323DAD109387</vt:lpwstr>
  </property>
</Properties>
</file>